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40"/>
  </p:notesMasterIdLst>
  <p:sldIdLst>
    <p:sldId id="423" r:id="rId5"/>
    <p:sldId id="441" r:id="rId6"/>
    <p:sldId id="431" r:id="rId7"/>
    <p:sldId id="442" r:id="rId8"/>
    <p:sldId id="406" r:id="rId9"/>
    <p:sldId id="265" r:id="rId10"/>
    <p:sldId id="408" r:id="rId11"/>
    <p:sldId id="465" r:id="rId12"/>
    <p:sldId id="459" r:id="rId13"/>
    <p:sldId id="407" r:id="rId14"/>
    <p:sldId id="409" r:id="rId15"/>
    <p:sldId id="437" r:id="rId16"/>
    <p:sldId id="451" r:id="rId17"/>
    <p:sldId id="450" r:id="rId18"/>
    <p:sldId id="455" r:id="rId19"/>
    <p:sldId id="460" r:id="rId20"/>
    <p:sldId id="438" r:id="rId21"/>
    <p:sldId id="439" r:id="rId22"/>
    <p:sldId id="447" r:id="rId23"/>
    <p:sldId id="452" r:id="rId24"/>
    <p:sldId id="453" r:id="rId25"/>
    <p:sldId id="462" r:id="rId26"/>
    <p:sldId id="419" r:id="rId27"/>
    <p:sldId id="463" r:id="rId28"/>
    <p:sldId id="440" r:id="rId29"/>
    <p:sldId id="444" r:id="rId30"/>
    <p:sldId id="448" r:id="rId31"/>
    <p:sldId id="454" r:id="rId32"/>
    <p:sldId id="449" r:id="rId33"/>
    <p:sldId id="458" r:id="rId34"/>
    <p:sldId id="456" r:id="rId35"/>
    <p:sldId id="457" r:id="rId36"/>
    <p:sldId id="461" r:id="rId37"/>
    <p:sldId id="464" r:id="rId38"/>
    <p:sldId id="443" r:id="rId39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446B"/>
    <a:srgbClr val="F8A91A"/>
    <a:srgbClr val="316297"/>
    <a:srgbClr val="5F6267"/>
    <a:srgbClr val="F1F0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B4C1A4-3DDB-4285-96C2-B82B89660852}" v="9" dt="2021-03-10T22:45:06.479"/>
    <p1510:client id="{1A849F81-8021-4A1E-9592-7219E0AF19DA}" v="16" dt="2021-03-10T13:14:45.20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8892" autoAdjust="0"/>
    <p:restoredTop sz="95332" autoAdjust="0"/>
  </p:normalViewPr>
  <p:slideViewPr>
    <p:cSldViewPr snapToGrid="0" snapToObjects="1">
      <p:cViewPr varScale="1">
        <p:scale>
          <a:sx n="103" d="100"/>
          <a:sy n="103" d="100"/>
        </p:scale>
        <p:origin x="114" y="26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4519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microsoft.com/office/2015/10/relationships/revisionInfo" Target="revisionInfo.xml"/><Relationship Id="rId20" Type="http://schemas.openxmlformats.org/officeDocument/2006/relationships/slide" Target="slides/slide16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us Sandbu" userId="40cc82ae449f3ec7" providerId="LiveId" clId="{0EB4C1A4-3DDB-4285-96C2-B82B89660852}"/>
    <pc:docChg chg="custSel addSld modSld">
      <pc:chgData name="Marius Sandbu" userId="40cc82ae449f3ec7" providerId="LiveId" clId="{0EB4C1A4-3DDB-4285-96C2-B82B89660852}" dt="2021-03-10T22:48:17.349" v="148" actId="1076"/>
      <pc:docMkLst>
        <pc:docMk/>
      </pc:docMkLst>
      <pc:sldChg chg="modSp mod">
        <pc:chgData name="Marius Sandbu" userId="40cc82ae449f3ec7" providerId="LiveId" clId="{0EB4C1A4-3DDB-4285-96C2-B82B89660852}" dt="2021-03-10T13:53:39.495" v="28" actId="6549"/>
        <pc:sldMkLst>
          <pc:docMk/>
          <pc:sldMk cId="269502834" sldId="265"/>
        </pc:sldMkLst>
        <pc:spChg chg="mod">
          <ac:chgData name="Marius Sandbu" userId="40cc82ae449f3ec7" providerId="LiveId" clId="{0EB4C1A4-3DDB-4285-96C2-B82B89660852}" dt="2021-03-10T13:53:39.495" v="28" actId="6549"/>
          <ac:spMkLst>
            <pc:docMk/>
            <pc:sldMk cId="269502834" sldId="265"/>
            <ac:spMk id="7" creationId="{E1051F42-2B0A-4418-BF4D-4F63CCC41B5E}"/>
          </ac:spMkLst>
        </pc:spChg>
      </pc:sldChg>
      <pc:sldChg chg="modSp mod">
        <pc:chgData name="Marius Sandbu" userId="40cc82ae449f3ec7" providerId="LiveId" clId="{0EB4C1A4-3DDB-4285-96C2-B82B89660852}" dt="2021-03-10T13:53:13.932" v="24" actId="20577"/>
        <pc:sldMkLst>
          <pc:docMk/>
          <pc:sldMk cId="2576758593" sldId="406"/>
        </pc:sldMkLst>
        <pc:spChg chg="mod">
          <ac:chgData name="Marius Sandbu" userId="40cc82ae449f3ec7" providerId="LiveId" clId="{0EB4C1A4-3DDB-4285-96C2-B82B89660852}" dt="2021-03-10T13:53:13.932" v="24" actId="20577"/>
          <ac:spMkLst>
            <pc:docMk/>
            <pc:sldMk cId="2576758593" sldId="406"/>
            <ac:spMk id="5" creationId="{115C6381-1430-4A01-A340-37E8A52AB9FC}"/>
          </ac:spMkLst>
        </pc:spChg>
      </pc:sldChg>
      <pc:sldChg chg="modSp mod">
        <pc:chgData name="Marius Sandbu" userId="40cc82ae449f3ec7" providerId="LiveId" clId="{0EB4C1A4-3DDB-4285-96C2-B82B89660852}" dt="2021-03-10T13:41:27.282" v="0" actId="20577"/>
        <pc:sldMkLst>
          <pc:docMk/>
          <pc:sldMk cId="4021653436" sldId="441"/>
        </pc:sldMkLst>
        <pc:spChg chg="mod">
          <ac:chgData name="Marius Sandbu" userId="40cc82ae449f3ec7" providerId="LiveId" clId="{0EB4C1A4-3DDB-4285-96C2-B82B89660852}" dt="2021-03-10T13:41:27.282" v="0" actId="20577"/>
          <ac:spMkLst>
            <pc:docMk/>
            <pc:sldMk cId="4021653436" sldId="441"/>
            <ac:spMk id="7" creationId="{4A5FFBCA-BFD0-9140-8E4E-BF2F61531CE0}"/>
          </ac:spMkLst>
        </pc:spChg>
      </pc:sldChg>
      <pc:sldChg chg="modSp mod">
        <pc:chgData name="Marius Sandbu" userId="40cc82ae449f3ec7" providerId="LiveId" clId="{0EB4C1A4-3DDB-4285-96C2-B82B89660852}" dt="2021-03-10T22:48:17.349" v="148" actId="1076"/>
        <pc:sldMkLst>
          <pc:docMk/>
          <pc:sldMk cId="1656143285" sldId="443"/>
        </pc:sldMkLst>
        <pc:spChg chg="mod">
          <ac:chgData name="Marius Sandbu" userId="40cc82ae449f3ec7" providerId="LiveId" clId="{0EB4C1A4-3DDB-4285-96C2-B82B89660852}" dt="2021-03-10T22:48:12.148" v="147" actId="1076"/>
          <ac:spMkLst>
            <pc:docMk/>
            <pc:sldMk cId="1656143285" sldId="443"/>
            <ac:spMk id="13" creationId="{AE9BE6AF-00F4-447A-8930-E8723F10C060}"/>
          </ac:spMkLst>
        </pc:spChg>
        <pc:spChg chg="mod">
          <ac:chgData name="Marius Sandbu" userId="40cc82ae449f3ec7" providerId="LiveId" clId="{0EB4C1A4-3DDB-4285-96C2-B82B89660852}" dt="2021-03-10T22:48:17.349" v="148" actId="1076"/>
          <ac:spMkLst>
            <pc:docMk/>
            <pc:sldMk cId="1656143285" sldId="443"/>
            <ac:spMk id="24" creationId="{200565AF-AB82-7041-BB63-4C8DC6EA617F}"/>
          </ac:spMkLst>
        </pc:spChg>
      </pc:sldChg>
      <pc:sldChg chg="modSp mod">
        <pc:chgData name="Marius Sandbu" userId="40cc82ae449f3ec7" providerId="LiveId" clId="{0EB4C1A4-3DDB-4285-96C2-B82B89660852}" dt="2021-03-10T13:53:58.194" v="61" actId="20577"/>
        <pc:sldMkLst>
          <pc:docMk/>
          <pc:sldMk cId="1081563218" sldId="457"/>
        </pc:sldMkLst>
        <pc:spChg chg="mod">
          <ac:chgData name="Marius Sandbu" userId="40cc82ae449f3ec7" providerId="LiveId" clId="{0EB4C1A4-3DDB-4285-96C2-B82B89660852}" dt="2021-03-10T13:53:58.194" v="61" actId="20577"/>
          <ac:spMkLst>
            <pc:docMk/>
            <pc:sldMk cId="1081563218" sldId="457"/>
            <ac:spMk id="6" creationId="{7CDC0824-BCEE-42A3-BF75-3C4BC350F038}"/>
          </ac:spMkLst>
        </pc:spChg>
      </pc:sldChg>
      <pc:sldChg chg="modSp mod">
        <pc:chgData name="Marius Sandbu" userId="40cc82ae449f3ec7" providerId="LiveId" clId="{0EB4C1A4-3DDB-4285-96C2-B82B89660852}" dt="2021-03-10T22:38:31.050" v="129" actId="1076"/>
        <pc:sldMkLst>
          <pc:docMk/>
          <pc:sldMk cId="2449533038" sldId="459"/>
        </pc:sldMkLst>
        <pc:picChg chg="mod">
          <ac:chgData name="Marius Sandbu" userId="40cc82ae449f3ec7" providerId="LiveId" clId="{0EB4C1A4-3DDB-4285-96C2-B82B89660852}" dt="2021-03-10T22:38:31.050" v="129" actId="1076"/>
          <ac:picMkLst>
            <pc:docMk/>
            <pc:sldMk cId="2449533038" sldId="459"/>
            <ac:picMk id="4" creationId="{252B14A4-08B8-4108-88D0-7AB5CFC1AA90}"/>
          </ac:picMkLst>
        </pc:picChg>
      </pc:sldChg>
      <pc:sldChg chg="addSp delSp modSp add mod">
        <pc:chgData name="Marius Sandbu" userId="40cc82ae449f3ec7" providerId="LiveId" clId="{0EB4C1A4-3DDB-4285-96C2-B82B89660852}" dt="2021-03-10T22:45:06.478" v="130" actId="1076"/>
        <pc:sldMkLst>
          <pc:docMk/>
          <pc:sldMk cId="219118172" sldId="464"/>
        </pc:sldMkLst>
        <pc:spChg chg="mod">
          <ac:chgData name="Marius Sandbu" userId="40cc82ae449f3ec7" providerId="LiveId" clId="{0EB4C1A4-3DDB-4285-96C2-B82B89660852}" dt="2021-03-10T14:56:21.554" v="100" actId="20577"/>
          <ac:spMkLst>
            <pc:docMk/>
            <pc:sldMk cId="219118172" sldId="464"/>
            <ac:spMk id="6" creationId="{7CDC0824-BCEE-42A3-BF75-3C4BC350F038}"/>
          </ac:spMkLst>
        </pc:spChg>
        <pc:spChg chg="add mod">
          <ac:chgData name="Marius Sandbu" userId="40cc82ae449f3ec7" providerId="LiveId" clId="{0EB4C1A4-3DDB-4285-96C2-B82B89660852}" dt="2021-03-10T14:56:47.772" v="111" actId="1076"/>
          <ac:spMkLst>
            <pc:docMk/>
            <pc:sldMk cId="219118172" sldId="464"/>
            <ac:spMk id="13" creationId="{7E00B188-3074-45FD-AB5C-030895A0587C}"/>
          </ac:spMkLst>
        </pc:spChg>
        <pc:picChg chg="del">
          <ac:chgData name="Marius Sandbu" userId="40cc82ae449f3ec7" providerId="LiveId" clId="{0EB4C1A4-3DDB-4285-96C2-B82B89660852}" dt="2021-03-10T14:56:24.303" v="106" actId="478"/>
          <ac:picMkLst>
            <pc:docMk/>
            <pc:sldMk cId="219118172" sldId="464"/>
            <ac:picMk id="3" creationId="{31833BEE-77A3-43FA-BD3A-2B137A1FC8C4}"/>
          </ac:picMkLst>
        </pc:picChg>
        <pc:picChg chg="del">
          <ac:chgData name="Marius Sandbu" userId="40cc82ae449f3ec7" providerId="LiveId" clId="{0EB4C1A4-3DDB-4285-96C2-B82B89660852}" dt="2021-03-10T14:56:23.849" v="105" actId="478"/>
          <ac:picMkLst>
            <pc:docMk/>
            <pc:sldMk cId="219118172" sldId="464"/>
            <ac:picMk id="8" creationId="{C474F927-7A69-48A3-A57E-789FCA8C7503}"/>
          </ac:picMkLst>
        </pc:picChg>
        <pc:picChg chg="del">
          <ac:chgData name="Marius Sandbu" userId="40cc82ae449f3ec7" providerId="LiveId" clId="{0EB4C1A4-3DDB-4285-96C2-B82B89660852}" dt="2021-03-10T14:56:22.680" v="101" actId="478"/>
          <ac:picMkLst>
            <pc:docMk/>
            <pc:sldMk cId="219118172" sldId="464"/>
            <ac:picMk id="12" creationId="{7953BD24-4F4D-4AFE-A858-C5F8ED46F1B5}"/>
          </ac:picMkLst>
        </pc:picChg>
        <pc:picChg chg="add mod">
          <ac:chgData name="Marius Sandbu" userId="40cc82ae449f3ec7" providerId="LiveId" clId="{0EB4C1A4-3DDB-4285-96C2-B82B89660852}" dt="2021-03-10T22:45:06.478" v="130" actId="1076"/>
          <ac:picMkLst>
            <pc:docMk/>
            <pc:sldMk cId="219118172" sldId="464"/>
            <ac:picMk id="1026" creationId="{F8F6CD7D-6172-47CC-BC30-B811BA8DA09C}"/>
          </ac:picMkLst>
        </pc:picChg>
        <pc:picChg chg="del">
          <ac:chgData name="Marius Sandbu" userId="40cc82ae449f3ec7" providerId="LiveId" clId="{0EB4C1A4-3DDB-4285-96C2-B82B89660852}" dt="2021-03-10T14:56:23.573" v="104" actId="478"/>
          <ac:picMkLst>
            <pc:docMk/>
            <pc:sldMk cId="219118172" sldId="464"/>
            <ac:picMk id="13314" creationId="{4E1D3BE8-D0B4-41E6-84DE-E5799F3082C7}"/>
          </ac:picMkLst>
        </pc:picChg>
        <pc:picChg chg="del">
          <ac:chgData name="Marius Sandbu" userId="40cc82ae449f3ec7" providerId="LiveId" clId="{0EB4C1A4-3DDB-4285-96C2-B82B89660852}" dt="2021-03-10T14:56:22.940" v="102" actId="478"/>
          <ac:picMkLst>
            <pc:docMk/>
            <pc:sldMk cId="219118172" sldId="464"/>
            <ac:picMk id="13316" creationId="{53ADC39B-0A81-40DE-B9EB-78229F7666AD}"/>
          </ac:picMkLst>
        </pc:picChg>
        <pc:picChg chg="del">
          <ac:chgData name="Marius Sandbu" userId="40cc82ae449f3ec7" providerId="LiveId" clId="{0EB4C1A4-3DDB-4285-96C2-B82B89660852}" dt="2021-03-10T14:56:23.257" v="103" actId="478"/>
          <ac:picMkLst>
            <pc:docMk/>
            <pc:sldMk cId="219118172" sldId="464"/>
            <ac:picMk id="13320" creationId="{224C079F-C095-4AF8-9032-EA94FE784767}"/>
          </ac:picMkLst>
        </pc:picChg>
      </pc:sldChg>
      <pc:sldChg chg="addSp delSp modSp add mod">
        <pc:chgData name="Marius Sandbu" userId="40cc82ae449f3ec7" providerId="LiveId" clId="{0EB4C1A4-3DDB-4285-96C2-B82B89660852}" dt="2021-03-10T22:38:24.452" v="127" actId="1076"/>
        <pc:sldMkLst>
          <pc:docMk/>
          <pc:sldMk cId="3057807422" sldId="465"/>
        </pc:sldMkLst>
        <pc:spChg chg="mod">
          <ac:chgData name="Marius Sandbu" userId="40cc82ae449f3ec7" providerId="LiveId" clId="{0EB4C1A4-3DDB-4285-96C2-B82B89660852}" dt="2021-03-10T22:24:09.654" v="115" actId="20577"/>
          <ac:spMkLst>
            <pc:docMk/>
            <pc:sldMk cId="3057807422" sldId="465"/>
            <ac:spMk id="5" creationId="{115C6381-1430-4A01-A340-37E8A52AB9FC}"/>
          </ac:spMkLst>
        </pc:spChg>
        <pc:spChg chg="del">
          <ac:chgData name="Marius Sandbu" userId="40cc82ae449f3ec7" providerId="LiveId" clId="{0EB4C1A4-3DDB-4285-96C2-B82B89660852}" dt="2021-03-10T22:24:14.385" v="118" actId="478"/>
          <ac:spMkLst>
            <pc:docMk/>
            <pc:sldMk cId="3057807422" sldId="465"/>
            <ac:spMk id="8" creationId="{6CBD5761-F44B-4DD4-A415-B4AFC5F77B8F}"/>
          </ac:spMkLst>
        </pc:spChg>
        <pc:picChg chg="del">
          <ac:chgData name="Marius Sandbu" userId="40cc82ae449f3ec7" providerId="LiveId" clId="{0EB4C1A4-3DDB-4285-96C2-B82B89660852}" dt="2021-03-10T22:24:11.367" v="116" actId="478"/>
          <ac:picMkLst>
            <pc:docMk/>
            <pc:sldMk cId="3057807422" sldId="465"/>
            <ac:picMk id="3" creationId="{F0B59768-548D-4989-92E4-8C4A5F586032}"/>
          </ac:picMkLst>
        </pc:picChg>
        <pc:picChg chg="add mod">
          <ac:chgData name="Marius Sandbu" userId="40cc82ae449f3ec7" providerId="LiveId" clId="{0EB4C1A4-3DDB-4285-96C2-B82B89660852}" dt="2021-03-10T22:38:24.452" v="127" actId="1076"/>
          <ac:picMkLst>
            <pc:docMk/>
            <pc:sldMk cId="3057807422" sldId="465"/>
            <ac:picMk id="4" creationId="{48459D16-2C4B-4BB5-AF9D-913AC199E6C7}"/>
          </ac:picMkLst>
        </pc:picChg>
        <pc:picChg chg="add mod">
          <ac:chgData name="Marius Sandbu" userId="40cc82ae449f3ec7" providerId="LiveId" clId="{0EB4C1A4-3DDB-4285-96C2-B82B89660852}" dt="2021-03-10T22:38:22.913" v="126" actId="1076"/>
          <ac:picMkLst>
            <pc:docMk/>
            <pc:sldMk cId="3057807422" sldId="465"/>
            <ac:picMk id="7" creationId="{D2AB7803-5185-42B4-AD89-853A955FA138}"/>
          </ac:picMkLst>
        </pc:picChg>
        <pc:picChg chg="del">
          <ac:chgData name="Marius Sandbu" userId="40cc82ae449f3ec7" providerId="LiveId" clId="{0EB4C1A4-3DDB-4285-96C2-B82B89660852}" dt="2021-03-10T22:24:12.060" v="117" actId="478"/>
          <ac:picMkLst>
            <pc:docMk/>
            <pc:sldMk cId="3057807422" sldId="465"/>
            <ac:picMk id="1026" creationId="{C4377D09-FB72-4724-9D99-9F7EA2B41C7E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4" tIns="46586" rIns="93174" bIns="4658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4" tIns="46586" rIns="93174" bIns="46586" rtlCol="0"/>
          <a:lstStyle>
            <a:lvl1pPr algn="r">
              <a:defRPr sz="1200"/>
            </a:lvl1pPr>
          </a:lstStyle>
          <a:p>
            <a:fld id="{A946F26B-2BE8-124E-8E80-33AA8E637CFD}" type="datetimeFigureOut">
              <a:rPr lang="en-US" smtClean="0"/>
              <a:t>3/10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4" tIns="46586" rIns="93174" bIns="4658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3"/>
            <a:ext cx="5608320" cy="3660457"/>
          </a:xfrm>
          <a:prstGeom prst="rect">
            <a:avLst/>
          </a:prstGeom>
        </p:spPr>
        <p:txBody>
          <a:bodyPr vert="horz" lIns="93174" tIns="46586" rIns="93174" bIns="4658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4" tIns="46586" rIns="93174" bIns="4658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4" tIns="46586" rIns="93174" bIns="46586" rtlCol="0" anchor="b"/>
          <a:lstStyle>
            <a:lvl1pPr algn="r">
              <a:defRPr sz="1200"/>
            </a:lvl1pPr>
          </a:lstStyle>
          <a:p>
            <a:fld id="{4864B820-A5EF-474B-B8FF-45D174E5A1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0399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20"/>
          <p:cNvSpPr/>
          <p:nvPr userDrawn="1"/>
        </p:nvSpPr>
        <p:spPr>
          <a:xfrm>
            <a:off x="4829982" y="-13249"/>
            <a:ext cx="7362019" cy="6871733"/>
          </a:xfrm>
          <a:custGeom>
            <a:avLst/>
            <a:gdLst>
              <a:gd name="connsiteX0" fmla="*/ 869932 w 7362019"/>
              <a:gd name="connsiteY0" fmla="*/ 0 h 6871733"/>
              <a:gd name="connsiteX1" fmla="*/ 7117990 w 7362019"/>
              <a:gd name="connsiteY1" fmla="*/ 3682 h 6871733"/>
              <a:gd name="connsiteX2" fmla="*/ 7362019 w 7362019"/>
              <a:gd name="connsiteY2" fmla="*/ 3443 h 6871733"/>
              <a:gd name="connsiteX3" fmla="*/ 7362019 w 7362019"/>
              <a:gd name="connsiteY3" fmla="*/ 6871733 h 6871733"/>
              <a:gd name="connsiteX4" fmla="*/ 7122244 w 7362019"/>
              <a:gd name="connsiteY4" fmla="*/ 6871365 h 6871733"/>
              <a:gd name="connsiteX5" fmla="*/ 856680 w 7362019"/>
              <a:gd name="connsiteY5" fmla="*/ 6864627 h 6871733"/>
              <a:gd name="connsiteX6" fmla="*/ 4 w 7362019"/>
              <a:gd name="connsiteY6" fmla="*/ 3440961 h 6871733"/>
              <a:gd name="connsiteX7" fmla="*/ 869932 w 7362019"/>
              <a:gd name="connsiteY7" fmla="*/ 0 h 6871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62019" h="6871733">
                <a:moveTo>
                  <a:pt x="869932" y="0"/>
                </a:moveTo>
                <a:cubicBezTo>
                  <a:pt x="877569" y="2648"/>
                  <a:pt x="4573615" y="5863"/>
                  <a:pt x="7117990" y="3682"/>
                </a:cubicBezTo>
                <a:lnTo>
                  <a:pt x="7362019" y="3443"/>
                </a:lnTo>
                <a:lnTo>
                  <a:pt x="7362019" y="6871733"/>
                </a:lnTo>
                <a:lnTo>
                  <a:pt x="7122244" y="6871365"/>
                </a:lnTo>
                <a:cubicBezTo>
                  <a:pt x="4594224" y="6867799"/>
                  <a:pt x="911250" y="6868798"/>
                  <a:pt x="856680" y="6864627"/>
                </a:cubicBezTo>
                <a:cubicBezTo>
                  <a:pt x="354034" y="5897031"/>
                  <a:pt x="-1367" y="4661768"/>
                  <a:pt x="4" y="3440961"/>
                </a:cubicBezTo>
                <a:cubicBezTo>
                  <a:pt x="1375" y="2220154"/>
                  <a:pt x="404520" y="939057"/>
                  <a:pt x="869932" y="0"/>
                </a:cubicBezTo>
                <a:close/>
              </a:path>
            </a:pathLst>
          </a:custGeom>
          <a:solidFill>
            <a:srgbClr val="3162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77118" y="3752737"/>
            <a:ext cx="6281482" cy="344478"/>
          </a:xfrm>
        </p:spPr>
        <p:txBody>
          <a:bodyPr>
            <a:noAutofit/>
          </a:bodyPr>
          <a:lstStyle>
            <a:lvl1pPr marL="0" indent="0">
              <a:buNone/>
              <a:defRPr sz="2400" spc="-3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377118" y="2041227"/>
            <a:ext cx="6281482" cy="1627803"/>
          </a:xfrm>
        </p:spPr>
        <p:txBody>
          <a:bodyPr anchor="b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8" name="Picture 7" descr="CUGC Logo_Color.ti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026" y="2399236"/>
            <a:ext cx="4536228" cy="1701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26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57200" y="1965960"/>
            <a:ext cx="5791200" cy="4306824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21"/>
          <p:cNvSpPr>
            <a:spLocks noGrp="1"/>
          </p:cNvSpPr>
          <p:nvPr>
            <p:ph type="title"/>
          </p:nvPr>
        </p:nvSpPr>
        <p:spPr>
          <a:xfrm>
            <a:off x="457201" y="411480"/>
            <a:ext cx="5791199" cy="842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457199" y="1271016"/>
            <a:ext cx="5791201" cy="249299"/>
          </a:xfrm>
        </p:spPr>
        <p:txBody>
          <a:bodyPr wrap="square">
            <a:spAutoFit/>
          </a:bodyPr>
          <a:lstStyle>
            <a:lvl1pPr marL="0" indent="0">
              <a:buNone/>
              <a:defRPr sz="1800" spc="-3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6248400" y="1203960"/>
            <a:ext cx="5943600" cy="5654040"/>
          </a:xfrm>
          <a:custGeom>
            <a:avLst/>
            <a:gdLst>
              <a:gd name="connsiteX0" fmla="*/ 3627120 w 5943600"/>
              <a:gd name="connsiteY0" fmla="*/ 0 h 5654040"/>
              <a:gd name="connsiteX1" fmla="*/ 5934305 w 5943600"/>
              <a:gd name="connsiteY1" fmla="*/ 828258 h 5654040"/>
              <a:gd name="connsiteX2" fmla="*/ 5943600 w 5943600"/>
              <a:gd name="connsiteY2" fmla="*/ 836706 h 5654040"/>
              <a:gd name="connsiteX3" fmla="*/ 5943600 w 5943600"/>
              <a:gd name="connsiteY3" fmla="*/ 5654040 h 5654040"/>
              <a:gd name="connsiteX4" fmla="*/ 618825 w 5943600"/>
              <a:gd name="connsiteY4" fmla="*/ 5654040 h 5654040"/>
              <a:gd name="connsiteX5" fmla="*/ 437774 w 5943600"/>
              <a:gd name="connsiteY5" fmla="*/ 5356021 h 5654040"/>
              <a:gd name="connsiteX6" fmla="*/ 0 w 5943600"/>
              <a:gd name="connsiteY6" fmla="*/ 3627120 h 5654040"/>
              <a:gd name="connsiteX7" fmla="*/ 3627120 w 5943600"/>
              <a:gd name="connsiteY7" fmla="*/ 0 h 5654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43600" h="5654040">
                <a:moveTo>
                  <a:pt x="3627120" y="0"/>
                </a:moveTo>
                <a:cubicBezTo>
                  <a:pt x="4503521" y="0"/>
                  <a:pt x="5307325" y="310828"/>
                  <a:pt x="5934305" y="828258"/>
                </a:cubicBezTo>
                <a:lnTo>
                  <a:pt x="5943600" y="836706"/>
                </a:lnTo>
                <a:lnTo>
                  <a:pt x="5943600" y="5654040"/>
                </a:lnTo>
                <a:lnTo>
                  <a:pt x="618825" y="5654040"/>
                </a:lnTo>
                <a:lnTo>
                  <a:pt x="437774" y="5356021"/>
                </a:lnTo>
                <a:cubicBezTo>
                  <a:pt x="158586" y="4842083"/>
                  <a:pt x="0" y="4253121"/>
                  <a:pt x="0" y="3627120"/>
                </a:cubicBezTo>
                <a:cubicBezTo>
                  <a:pt x="0" y="1623917"/>
                  <a:pt x="1623917" y="0"/>
                  <a:pt x="362712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dirty="0"/>
              <a:t>Drag picture to placeholder </a:t>
            </a:r>
            <a:br>
              <a:rPr lang="en-US" dirty="0"/>
            </a:br>
            <a:r>
              <a:rPr lang="en-US" dirty="0"/>
              <a:t>or click icon to add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456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Click icon to add media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9556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543050"/>
            <a:ext cx="9144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972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only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Shape 28"/>
          <p:cNvPicPr preferRelativeResize="0"/>
          <p:nvPr/>
        </p:nvPicPr>
        <p:blipFill/>
        <p:spPr>
          <a:xfrm>
            <a:off x="2118" y="2118"/>
            <a:ext cx="2116" cy="2116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29" name="Shape 29"/>
          <p:cNvSpPr txBox="1">
            <a:spLocks noGrp="1"/>
          </p:cNvSpPr>
          <p:nvPr>
            <p:ph type="dt" idx="10"/>
          </p:nvPr>
        </p:nvSpPr>
        <p:spPr>
          <a:xfrm>
            <a:off x="960001" y="6483367"/>
            <a:ext cx="4896817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00" b="0" i="0" u="none" strike="noStrike" cap="none">
                <a:solidFill>
                  <a:srgbClr val="69889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09585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21917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54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438339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047924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657509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267093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876678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ftr" idx="11"/>
          </p:nvPr>
        </p:nvSpPr>
        <p:spPr>
          <a:xfrm>
            <a:off x="960001" y="6354221"/>
            <a:ext cx="4896817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00" b="0" i="0" u="none" strike="noStrike" cap="none">
                <a:solidFill>
                  <a:srgbClr val="69889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09585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21917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54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438339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047924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657509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267093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876678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sldNum" idx="12"/>
          </p:nvPr>
        </p:nvSpPr>
        <p:spPr>
          <a:xfrm>
            <a:off x="720000" y="6354219"/>
            <a:ext cx="24000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fld id="{00000000-1234-1234-1234-123412341234}" type="slidenum">
              <a:rPr lang="no-NO" sz="800" smtClean="0">
                <a:solidFill>
                  <a:srgbClr val="698898"/>
                </a:solidFill>
                <a:latin typeface="Arial"/>
                <a:ea typeface="Arial"/>
                <a:cs typeface="Arial"/>
                <a:sym typeface="Arial"/>
              </a:rPr>
              <a:pPr/>
              <a:t>‹#›</a:t>
            </a:fld>
            <a:endParaRPr lang="no-NO" sz="800">
              <a:solidFill>
                <a:srgbClr val="69889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Shape 32"/>
          <p:cNvSpPr txBox="1">
            <a:spLocks noGrp="1"/>
          </p:cNvSpPr>
          <p:nvPr>
            <p:ph type="title"/>
          </p:nvPr>
        </p:nvSpPr>
        <p:spPr>
          <a:xfrm>
            <a:off x="720091" y="504488"/>
            <a:ext cx="5136643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667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780286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1"/>
          <p:cNvSpPr>
            <a:spLocks noGrp="1"/>
          </p:cNvSpPr>
          <p:nvPr>
            <p:ph type="title"/>
          </p:nvPr>
        </p:nvSpPr>
        <p:spPr>
          <a:xfrm>
            <a:off x="5422900" y="411480"/>
            <a:ext cx="6311899" cy="842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</p:nvPr>
        </p:nvSpPr>
        <p:spPr>
          <a:xfrm>
            <a:off x="5422900" y="1965960"/>
            <a:ext cx="6311898" cy="4306824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1800"/>
              </a:spcBef>
              <a:buFont typeface="+mj-lt"/>
              <a:buNone/>
              <a:defRPr sz="2200" b="1">
                <a:solidFill>
                  <a:schemeClr val="accent6"/>
                </a:solidFill>
                <a:latin typeface="+mn-lt"/>
              </a:defRPr>
            </a:lvl1pPr>
            <a:lvl2pPr marL="288925" indent="0">
              <a:spcBef>
                <a:spcPts val="400"/>
              </a:spcBef>
              <a:spcAft>
                <a:spcPts val="400"/>
              </a:spcAft>
              <a:buFont typeface="Tahoma" panose="020B0604030504040204" pitchFamily="34" charset="0"/>
              <a:buChar char="​"/>
              <a:defRPr sz="1400" b="0" spc="50" baseline="0">
                <a:solidFill>
                  <a:schemeClr val="tx1"/>
                </a:solidFill>
                <a:latin typeface="+mn-lt"/>
              </a:defRPr>
            </a:lvl2pPr>
            <a:lvl3pPr marL="403225" indent="-114300">
              <a:lnSpc>
                <a:spcPct val="85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+mn-lt"/>
              </a:defRPr>
            </a:lvl3pPr>
            <a:lvl4pPr marL="403225" indent="-114300">
              <a:lnSpc>
                <a:spcPct val="85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  <a:latin typeface="+mn-lt"/>
              </a:defRPr>
            </a:lvl4pPr>
            <a:lvl5pPr marL="403225" indent="-114300">
              <a:lnSpc>
                <a:spcPct val="85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  <a:latin typeface="+mn-lt"/>
              </a:defRPr>
            </a:lvl5pPr>
            <a:lvl6pPr marL="403225" indent="-114300">
              <a:lnSpc>
                <a:spcPct val="85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6"/>
                </a:solidFill>
                <a:latin typeface="+mj-lt"/>
              </a:defRPr>
            </a:lvl6pPr>
            <a:lvl7pPr marL="403225" indent="-114300">
              <a:lnSpc>
                <a:spcPct val="85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6"/>
                </a:solidFill>
                <a:latin typeface="+mj-lt"/>
              </a:defRPr>
            </a:lvl7pPr>
            <a:lvl8pPr marL="403225" indent="-114300">
              <a:lnSpc>
                <a:spcPct val="85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6"/>
                </a:solidFill>
                <a:latin typeface="+mj-lt"/>
              </a:defRPr>
            </a:lvl8pPr>
            <a:lvl9pPr marL="403225" indent="-114300">
              <a:lnSpc>
                <a:spcPct val="85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b="0">
                <a:solidFill>
                  <a:schemeClr val="accent6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5422900" y="1271016"/>
            <a:ext cx="6311898" cy="250073"/>
          </a:xfrm>
        </p:spPr>
        <p:txBody>
          <a:bodyPr wrap="square">
            <a:spAutoFit/>
          </a:bodyPr>
          <a:lstStyle>
            <a:lvl1pPr marL="0" indent="0">
              <a:buNone/>
              <a:defRPr sz="1800" spc="-3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44"/>
          <a:stretch/>
        </p:blipFill>
        <p:spPr>
          <a:xfrm>
            <a:off x="-8966" y="258685"/>
            <a:ext cx="4840941" cy="6097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898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407354"/>
            <a:ext cx="11277599" cy="8420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457199" y="1266372"/>
            <a:ext cx="11277599" cy="249299"/>
          </a:xfrm>
        </p:spPr>
        <p:txBody>
          <a:bodyPr wrap="square">
            <a:spAutoFit/>
          </a:bodyPr>
          <a:lstStyle>
            <a:lvl1pPr marL="0" indent="0">
              <a:buNone/>
              <a:defRPr sz="1800" spc="-3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368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65960"/>
            <a:ext cx="11277600" cy="430682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457200" y="411480"/>
            <a:ext cx="11277599" cy="842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457199" y="1271016"/>
            <a:ext cx="11277599" cy="249299"/>
          </a:xfrm>
        </p:spPr>
        <p:txBody>
          <a:bodyPr wrap="square">
            <a:spAutoFit/>
          </a:bodyPr>
          <a:lstStyle>
            <a:lvl1pPr marL="0" indent="0">
              <a:buNone/>
              <a:defRPr sz="1800" spc="-3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704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965960"/>
            <a:ext cx="5413248" cy="430682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457200" y="411480"/>
            <a:ext cx="11277599" cy="842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11"/>
          </p:nvPr>
        </p:nvSpPr>
        <p:spPr>
          <a:xfrm>
            <a:off x="6324599" y="1965960"/>
            <a:ext cx="5413248" cy="430682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457199" y="1271016"/>
            <a:ext cx="11277599" cy="249299"/>
          </a:xfrm>
        </p:spPr>
        <p:txBody>
          <a:bodyPr wrap="square">
            <a:spAutoFit/>
          </a:bodyPr>
          <a:lstStyle>
            <a:lvl1pPr marL="0" indent="0">
              <a:buNone/>
              <a:defRPr sz="1800" spc="-3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484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1" y="1965960"/>
            <a:ext cx="7361022" cy="430682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457200" y="411480"/>
            <a:ext cx="11277599" cy="842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2"/>
          </p:nvPr>
        </p:nvSpPr>
        <p:spPr>
          <a:xfrm>
            <a:off x="8270448" y="1965960"/>
            <a:ext cx="3454399" cy="430682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457199" y="1271016"/>
            <a:ext cx="11277599" cy="249299"/>
          </a:xfrm>
        </p:spPr>
        <p:txBody>
          <a:bodyPr wrap="square">
            <a:spAutoFit/>
          </a:bodyPr>
          <a:lstStyle>
            <a:lvl1pPr marL="0" indent="0">
              <a:buNone/>
              <a:defRPr sz="1800" spc="-3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344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199" y="1965960"/>
            <a:ext cx="3456432" cy="430682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457200" y="411480"/>
            <a:ext cx="11277599" cy="842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1"/>
          </p:nvPr>
        </p:nvSpPr>
        <p:spPr>
          <a:xfrm>
            <a:off x="4363823" y="1965960"/>
            <a:ext cx="3456432" cy="430682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2"/>
          </p:nvPr>
        </p:nvSpPr>
        <p:spPr>
          <a:xfrm>
            <a:off x="8270447" y="1965960"/>
            <a:ext cx="3456432" cy="430682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457199" y="1271016"/>
            <a:ext cx="11277599" cy="249299"/>
          </a:xfrm>
        </p:spPr>
        <p:txBody>
          <a:bodyPr wrap="square">
            <a:spAutoFit/>
          </a:bodyPr>
          <a:lstStyle>
            <a:lvl1pPr marL="0" indent="0">
              <a:buNone/>
              <a:defRPr sz="1800" spc="-3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5444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965960"/>
            <a:ext cx="2476498" cy="430682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457200" y="411480"/>
            <a:ext cx="11277599" cy="8420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11"/>
          </p:nvPr>
        </p:nvSpPr>
        <p:spPr>
          <a:xfrm>
            <a:off x="3390900" y="1965960"/>
            <a:ext cx="2476499" cy="430682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2"/>
          </p:nvPr>
        </p:nvSpPr>
        <p:spPr>
          <a:xfrm>
            <a:off x="6324598" y="1965960"/>
            <a:ext cx="2476499" cy="430682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3"/>
          </p:nvPr>
        </p:nvSpPr>
        <p:spPr>
          <a:xfrm>
            <a:off x="9258296" y="1965960"/>
            <a:ext cx="2476499" cy="430682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457199" y="1271016"/>
            <a:ext cx="11277599" cy="249299"/>
          </a:xfrm>
        </p:spPr>
        <p:txBody>
          <a:bodyPr wrap="square">
            <a:spAutoFit/>
          </a:bodyPr>
          <a:lstStyle>
            <a:lvl1pPr marL="0" indent="0">
              <a:buNone/>
              <a:defRPr sz="1800" spc="-3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4861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649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592709"/>
            <a:ext cx="11277599" cy="8420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57200" y="2148840"/>
            <a:ext cx="11277600" cy="40336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9" name="TextBox 78"/>
          <p:cNvSpPr txBox="1"/>
          <p:nvPr/>
        </p:nvSpPr>
        <p:spPr bwMode="gray">
          <a:xfrm>
            <a:off x="457200" y="6567845"/>
            <a:ext cx="357354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10882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2"/>
                </a:solidFill>
                <a:latin typeface="+mj-lt"/>
                <a:ea typeface="Arial"/>
                <a:cs typeface="Arial"/>
              </a:rPr>
              <a:t>© 2021 Citrix User Group Communit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8330" y="6410048"/>
            <a:ext cx="896470" cy="348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764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681" r:id="rId3"/>
    <p:sldLayoutId id="2147483682" r:id="rId4"/>
    <p:sldLayoutId id="2147483683" r:id="rId5"/>
    <p:sldLayoutId id="2147483685" r:id="rId6"/>
    <p:sldLayoutId id="2147483686" r:id="rId7"/>
    <p:sldLayoutId id="2147483687" r:id="rId8"/>
    <p:sldLayoutId id="2147483690" r:id="rId9"/>
    <p:sldLayoutId id="2147483724" r:id="rId10"/>
    <p:sldLayoutId id="2147483699" r:id="rId11"/>
    <p:sldLayoutId id="2147483701" r:id="rId12"/>
    <p:sldLayoutId id="2147483728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76000"/>
        </a:lnSpc>
        <a:spcBef>
          <a:spcPct val="0"/>
        </a:spcBef>
        <a:buNone/>
        <a:defRPr sz="3600" b="1" kern="1200" spc="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sz="2200" kern="100" spc="50" baseline="0">
          <a:solidFill>
            <a:schemeClr val="tx1"/>
          </a:solidFill>
          <a:latin typeface="+mn-lt"/>
          <a:ea typeface="+mn-ea"/>
          <a:cs typeface="+mn-cs"/>
        </a:defRPr>
      </a:lvl1pPr>
      <a:lvl2pPr marL="341313" indent="-169863" algn="l" defTabSz="914400" rtl="0" eaLnBrk="1" latinLnBrk="0" hangingPunct="1">
        <a:lnSpc>
          <a:spcPct val="90000"/>
        </a:lnSpc>
        <a:spcBef>
          <a:spcPts val="600"/>
        </a:spcBef>
        <a:spcAft>
          <a:spcPts val="200"/>
        </a:spcAft>
        <a:buFont typeface="Arial" panose="020B0604020202020204" pitchFamily="34" charset="0"/>
        <a:buChar char="•"/>
        <a:defRPr sz="1800" kern="1200" spc="-30" baseline="0">
          <a:solidFill>
            <a:schemeClr val="tx1"/>
          </a:solidFill>
          <a:latin typeface="+mn-lt"/>
          <a:ea typeface="+mn-ea"/>
          <a:cs typeface="+mn-cs"/>
        </a:defRPr>
      </a:lvl2pPr>
      <a:lvl3pPr marL="512763" indent="-171450" algn="l" defTabSz="914400" rtl="0" eaLnBrk="1" latinLnBrk="0" hangingPunct="1">
        <a:lnSpc>
          <a:spcPct val="85000"/>
        </a:lnSpc>
        <a:spcBef>
          <a:spcPts val="600"/>
        </a:spcBef>
        <a:spcAft>
          <a:spcPts val="200"/>
        </a:spcAft>
        <a:buFont typeface="Arial" panose="020B0604020202020204" pitchFamily="34" charset="0"/>
        <a:buChar char="•"/>
        <a:defRPr sz="1600" kern="100" spc="-3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1400"/>
        </a:spcBef>
        <a:buFont typeface="Tahoma" panose="020B0604030504040204" pitchFamily="34" charset="0"/>
        <a:buChar char="​"/>
        <a:defRPr sz="2200" kern="100" spc="-5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79000"/>
        </a:lnSpc>
        <a:spcBef>
          <a:spcPts val="200"/>
        </a:spcBef>
        <a:spcAft>
          <a:spcPts val="800"/>
        </a:spcAft>
        <a:buFont typeface="Tahoma" panose="020B0604030504040204" pitchFamily="34" charset="0"/>
        <a:buChar char="​"/>
        <a:defRPr sz="1400" b="1" kern="100" spc="3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800"/>
        </a:spcAft>
        <a:buFont typeface="Tahoma" panose="020B0604030504040204" pitchFamily="34" charset="0"/>
        <a:buChar char="​"/>
        <a:defRPr sz="1400" kern="1200" spc="30" baseline="0">
          <a:solidFill>
            <a:schemeClr val="tx1"/>
          </a:solidFill>
          <a:latin typeface="+mn-lt"/>
          <a:ea typeface="+mn-ea"/>
          <a:cs typeface="+mn-cs"/>
        </a:defRPr>
      </a:lvl6pPr>
      <a:lvl7pPr marL="171450" indent="-17145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 spc="-50" baseline="0">
          <a:solidFill>
            <a:schemeClr val="accent6"/>
          </a:solidFill>
          <a:latin typeface="+mn-lt"/>
          <a:ea typeface="+mn-ea"/>
          <a:cs typeface="+mn-cs"/>
        </a:defRPr>
      </a:lvl7pPr>
      <a:lvl8pPr marL="111125" indent="-111125" algn="l" defTabSz="914400" rtl="0" eaLnBrk="1" latinLnBrk="0" hangingPunct="1">
        <a:lnSpc>
          <a:spcPct val="120000"/>
        </a:lnSpc>
        <a:spcBef>
          <a:spcPts val="600"/>
        </a:spcBef>
        <a:spcAft>
          <a:spcPts val="600"/>
        </a:spcAft>
        <a:buFont typeface="Calibri Light" panose="020F0302020204030204" pitchFamily="34" charset="0"/>
        <a:buChar char="“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114300" indent="0" algn="l" defTabSz="914400" rtl="0" eaLnBrk="1" latinLnBrk="0" hangingPunct="1">
        <a:lnSpc>
          <a:spcPct val="85000"/>
        </a:lnSpc>
        <a:spcBef>
          <a:spcPts val="200"/>
        </a:spcBef>
        <a:spcAft>
          <a:spcPts val="1000"/>
        </a:spcAft>
        <a:buFont typeface="Tahoma" panose="020B0604030504040204" pitchFamily="34" charset="0"/>
        <a:buChar char="​"/>
        <a:defRPr sz="1200" b="1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32">
          <p15:clr>
            <a:srgbClr val="F26B43"/>
          </p15:clr>
        </p15:guide>
        <p15:guide id="2" pos="3840">
          <p15:clr>
            <a:srgbClr val="F26B43"/>
          </p15:clr>
        </p15:guide>
        <p15:guide id="3" pos="288">
          <p15:clr>
            <a:srgbClr val="F26B43"/>
          </p15:clr>
        </p15:guide>
        <p15:guide id="4" pos="7397">
          <p15:clr>
            <a:srgbClr val="F26B43"/>
          </p15:clr>
        </p15:guide>
        <p15:guide id="5" orient="horz" pos="912">
          <p15:clr>
            <a:srgbClr val="F26B43"/>
          </p15:clr>
        </p15:guide>
        <p15:guide id="6" orient="horz" pos="360">
          <p15:clr>
            <a:srgbClr val="F26B43"/>
          </p15:clr>
        </p15:guide>
        <p15:guide id="7" orient="horz" pos="1488">
          <p15:clr>
            <a:srgbClr val="F26B43"/>
          </p15:clr>
        </p15:guide>
        <p15:guide id="8" orient="horz" pos="10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0.emf"/><Relationship Id="rId9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5" Type="http://schemas.openxmlformats.org/officeDocument/2006/relationships/image" Target="../media/image33.png"/><Relationship Id="rId4" Type="http://schemas.openxmlformats.org/officeDocument/2006/relationships/image" Target="../media/image2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6" Type="http://schemas.openxmlformats.org/officeDocument/2006/relationships/image" Target="../media/image34.png"/><Relationship Id="rId5" Type="http://schemas.openxmlformats.org/officeDocument/2006/relationships/hyperlink" Target="https://csrc.nist.gov/publications/detail/sp/800-207/final" TargetMode="External"/><Relationship Id="rId4" Type="http://schemas.openxmlformats.org/officeDocument/2006/relationships/image" Target="../media/image20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Relationship Id="rId5" Type="http://schemas.openxmlformats.org/officeDocument/2006/relationships/image" Target="../media/image35.emf"/><Relationship Id="rId4" Type="http://schemas.openxmlformats.org/officeDocument/2006/relationships/image" Target="../media/image20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4" Type="http://schemas.openxmlformats.org/officeDocument/2006/relationships/image" Target="../media/image20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20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4" Type="http://schemas.openxmlformats.org/officeDocument/2006/relationships/image" Target="../media/image20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2.xml"/><Relationship Id="rId5" Type="http://schemas.openxmlformats.org/officeDocument/2006/relationships/image" Target="../media/image38.png"/><Relationship Id="rId4" Type="http://schemas.openxmlformats.org/officeDocument/2006/relationships/image" Target="../media/image20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Relationship Id="rId6" Type="http://schemas.openxmlformats.org/officeDocument/2006/relationships/hyperlink" Target="https://support.zoom.us/hc/en-us/articles/360031768011-New-updates-for-Virtual-Desktop-Infrastructure-VDI-" TargetMode="External"/><Relationship Id="rId5" Type="http://schemas.openxmlformats.org/officeDocument/2006/relationships/hyperlink" Target="https://azure.microsoft.com/en-us/services/virtual-desktop/assessment/" TargetMode="External"/><Relationship Id="rId4" Type="http://schemas.openxmlformats.org/officeDocument/2006/relationships/image" Target="../media/image20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4.xml"/><Relationship Id="rId6" Type="http://schemas.openxmlformats.org/officeDocument/2006/relationships/hyperlink" Target="https://bit.ly/msandbunv" TargetMode="External"/><Relationship Id="rId5" Type="http://schemas.openxmlformats.org/officeDocument/2006/relationships/image" Target="../media/image41.emf"/><Relationship Id="rId4" Type="http://schemas.openxmlformats.org/officeDocument/2006/relationships/image" Target="../media/image20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5.xml"/><Relationship Id="rId5" Type="http://schemas.openxmlformats.org/officeDocument/2006/relationships/image" Target="../media/image42.png"/><Relationship Id="rId4" Type="http://schemas.openxmlformats.org/officeDocument/2006/relationships/image" Target="../media/image20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6.xml"/><Relationship Id="rId6" Type="http://schemas.openxmlformats.org/officeDocument/2006/relationships/image" Target="../media/image43.png"/><Relationship Id="rId5" Type="http://schemas.openxmlformats.org/officeDocument/2006/relationships/hyperlink" Target="https://docs.vmware.com/en/VMware-Horizon-Cloud-Service/services/rn/horizon-service-relnotes.html#wn20210309" TargetMode="External"/><Relationship Id="rId4" Type="http://schemas.openxmlformats.org/officeDocument/2006/relationships/image" Target="../media/image20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7.xml"/><Relationship Id="rId4" Type="http://schemas.openxmlformats.org/officeDocument/2006/relationships/image" Target="../media/image20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8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20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9.xml"/><Relationship Id="rId6" Type="http://schemas.openxmlformats.org/officeDocument/2006/relationships/image" Target="../media/image47.png"/><Relationship Id="rId5" Type="http://schemas.openxmlformats.org/officeDocument/2006/relationships/image" Target="../media/image46.jpeg"/><Relationship Id="rId4" Type="http://schemas.openxmlformats.org/officeDocument/2006/relationships/image" Target="../media/image20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0.xml"/><Relationship Id="rId5" Type="http://schemas.openxmlformats.org/officeDocument/2006/relationships/image" Target="../media/image48.png"/><Relationship Id="rId4" Type="http://schemas.openxmlformats.org/officeDocument/2006/relationships/image" Target="../media/image20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1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20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2.xml"/><Relationship Id="rId6" Type="http://schemas.openxmlformats.org/officeDocument/2006/relationships/hyperlink" Target="https://techcommunity.microsoft.com/t5/microsoft-security-baselines/security-baseline-final-for-chromium-based-microsoft-edge/ba-p/1111863" TargetMode="External"/><Relationship Id="rId5" Type="http://schemas.openxmlformats.org/officeDocument/2006/relationships/image" Target="../media/image51.gif"/><Relationship Id="rId4" Type="http://schemas.openxmlformats.org/officeDocument/2006/relationships/image" Target="../media/image20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3.xml"/><Relationship Id="rId6" Type="http://schemas.openxmlformats.org/officeDocument/2006/relationships/image" Target="../media/image54.png"/><Relationship Id="rId5" Type="http://schemas.openxmlformats.org/officeDocument/2006/relationships/hyperlink" Target="https://news.microsoft.com/ignite-march-2021-book-of-news/" TargetMode="External"/><Relationship Id="rId4" Type="http://schemas.openxmlformats.org/officeDocument/2006/relationships/image" Target="../media/image20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56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4.xml"/><Relationship Id="rId6" Type="http://schemas.openxmlformats.org/officeDocument/2006/relationships/image" Target="../media/image55.png"/><Relationship Id="rId5" Type="http://schemas.openxmlformats.org/officeDocument/2006/relationships/hyperlink" Target="https://docs.microsoft.com/en-us/graph/api/resources/virtualendpoint?view=graph-rest-beta" TargetMode="External"/><Relationship Id="rId4" Type="http://schemas.openxmlformats.org/officeDocument/2006/relationships/image" Target="../media/image20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1.svg"/><Relationship Id="rId7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png"/><Relationship Id="rId5" Type="http://schemas.openxmlformats.org/officeDocument/2006/relationships/image" Target="../media/image13.svg"/><Relationship Id="rId10" Type="http://schemas.openxmlformats.org/officeDocument/2006/relationships/image" Target="../media/image17.svg"/><Relationship Id="rId4" Type="http://schemas.openxmlformats.org/officeDocument/2006/relationships/image" Target="../media/image12.png"/><Relationship Id="rId9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5.xml"/><Relationship Id="rId6" Type="http://schemas.openxmlformats.org/officeDocument/2006/relationships/image" Target="../media/image57.png"/><Relationship Id="rId5" Type="http://schemas.openxmlformats.org/officeDocument/2006/relationships/hyperlink" Target="https://techcommunity.microsoft.com/t5/core-infrastructure-and-security/msix-batch-conversion-of-your-app-v-5-packages/ba-p/1925461" TargetMode="External"/><Relationship Id="rId4" Type="http://schemas.openxmlformats.org/officeDocument/2006/relationships/image" Target="../media/image20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hyperlink" Target="https://go-euc.com/" TargetMode="External"/><Relationship Id="rId3" Type="http://schemas.openxmlformats.org/officeDocument/2006/relationships/oleObject" Target="../embeddings/oleObject18.bin"/><Relationship Id="rId7" Type="http://schemas.openxmlformats.org/officeDocument/2006/relationships/image" Target="../media/image59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6.xml"/><Relationship Id="rId6" Type="http://schemas.openxmlformats.org/officeDocument/2006/relationships/image" Target="../media/image58.png"/><Relationship Id="rId5" Type="http://schemas.openxmlformats.org/officeDocument/2006/relationships/hyperlink" Target="https://t.co/8Hq6as4K3o?amp=1" TargetMode="External"/><Relationship Id="rId4" Type="http://schemas.openxmlformats.org/officeDocument/2006/relationships/image" Target="../media/image20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7.xml"/><Relationship Id="rId5" Type="http://schemas.openxmlformats.org/officeDocument/2006/relationships/image" Target="../media/image60.emf"/><Relationship Id="rId4" Type="http://schemas.openxmlformats.org/officeDocument/2006/relationships/image" Target="../media/image20.emf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oleObject" Target="../embeddings/oleObject20.bin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8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10" Type="http://schemas.openxmlformats.org/officeDocument/2006/relationships/image" Target="../media/image66.png"/><Relationship Id="rId4" Type="http://schemas.openxmlformats.org/officeDocument/2006/relationships/image" Target="../media/image20.emf"/><Relationship Id="rId9" Type="http://schemas.openxmlformats.org/officeDocument/2006/relationships/image" Target="../media/image6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9.xml"/><Relationship Id="rId6" Type="http://schemas.openxmlformats.org/officeDocument/2006/relationships/hyperlink" Target="https://t.co/qDkIXst3tM?amp=1" TargetMode="External"/><Relationship Id="rId5" Type="http://schemas.openxmlformats.org/officeDocument/2006/relationships/image" Target="../media/image67.jpeg"/><Relationship Id="rId4" Type="http://schemas.openxmlformats.org/officeDocument/2006/relationships/image" Target="../media/image20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9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jakewalsh90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9.jpe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4" Type="http://schemas.openxmlformats.org/officeDocument/2006/relationships/image" Target="../media/image2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.xml"/><Relationship Id="rId4" Type="http://schemas.openxmlformats.org/officeDocument/2006/relationships/image" Target="../media/image20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6" Type="http://schemas.openxmlformats.org/officeDocument/2006/relationships/hyperlink" Target="https://docs.citrix.com/en-us/citrix-adc/current-release/aaa-tm/single-sign-on-types/enable-sso-for-auth-pol.html" TargetMode="External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0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8569562" y="0"/>
            <a:ext cx="3622438" cy="6858000"/>
            <a:chOff x="258790" y="0"/>
            <a:chExt cx="3622438" cy="6858000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813" t="32820" r="33572" b="33388"/>
            <a:stretch/>
          </p:blipFill>
          <p:spPr>
            <a:xfrm>
              <a:off x="258795" y="0"/>
              <a:ext cx="3622429" cy="2317439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021" t="31668" r="13423" b="3643"/>
            <a:stretch/>
          </p:blipFill>
          <p:spPr>
            <a:xfrm>
              <a:off x="258791" y="2313832"/>
              <a:ext cx="3622433" cy="2278763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855" t="36288" r="2441" b="10760"/>
            <a:stretch/>
          </p:blipFill>
          <p:spPr>
            <a:xfrm>
              <a:off x="258795" y="4592595"/>
              <a:ext cx="3622429" cy="2265405"/>
            </a:xfrm>
            <a:prstGeom prst="rect">
              <a:avLst/>
            </a:prstGeom>
          </p:spPr>
        </p:pic>
        <p:sp>
          <p:nvSpPr>
            <p:cNvPr id="14" name="Rectangle 13"/>
            <p:cNvSpPr/>
            <p:nvPr/>
          </p:nvSpPr>
          <p:spPr>
            <a:xfrm>
              <a:off x="258791" y="1718808"/>
              <a:ext cx="3622433" cy="595023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58790" y="3997572"/>
              <a:ext cx="3622433" cy="595023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58795" y="6262977"/>
              <a:ext cx="3622433" cy="595023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538843" y="1718809"/>
              <a:ext cx="334238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LEARN. 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538843" y="4022393"/>
              <a:ext cx="334238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SHARE.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538843" y="6273225"/>
              <a:ext cx="334238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CONNECT.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598975" y="1879910"/>
            <a:ext cx="6997963" cy="3146606"/>
            <a:chOff x="4436189" y="1718808"/>
            <a:chExt cx="6997963" cy="3146606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36189" y="1718808"/>
              <a:ext cx="6997963" cy="2054447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6331789" y="4496082"/>
              <a:ext cx="510236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316297"/>
                  </a:solidFill>
                  <a:latin typeface="Calibri Light" charset="0"/>
                  <a:ea typeface="Calibri Light" charset="0"/>
                  <a:cs typeface="Calibri Light" charset="0"/>
                </a:rPr>
                <a:t>WWW.MYCUGC.ORG</a:t>
              </a:r>
              <a:r>
                <a:rPr lang="en-US" dirty="0">
                  <a:solidFill>
                    <a:schemeClr val="bg2"/>
                  </a:solidFill>
                  <a:latin typeface="Calibri Light" charset="0"/>
                  <a:ea typeface="Calibri Light" charset="0"/>
                  <a:cs typeface="Calibri Light" charset="0"/>
                </a:rPr>
                <a:t> </a:t>
              </a:r>
              <a:endParaRPr lang="en-US" dirty="0">
                <a:solidFill>
                  <a:srgbClr val="316297"/>
                </a:solidFill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331789" y="3911307"/>
              <a:ext cx="5102363" cy="584775"/>
            </a:xfrm>
            <a:prstGeom prst="rect">
              <a:avLst/>
            </a:prstGeom>
            <a:solidFill>
              <a:srgbClr val="316297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dirty="0">
                  <a:solidFill>
                    <a:schemeClr val="bg1"/>
                  </a:solidFill>
                  <a:latin typeface="Calibri" charset="0"/>
                  <a:ea typeface="Calibri" charset="0"/>
                  <a:cs typeface="Calibri" charset="0"/>
                </a:rPr>
                <a:t>JOIN TODA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07376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115C6381-1430-4A01-A340-37E8A52AB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4038" y="376066"/>
            <a:ext cx="9667875" cy="1333699"/>
          </a:xfrm>
        </p:spPr>
        <p:txBody>
          <a:bodyPr/>
          <a:lstStyle/>
          <a:p>
            <a:r>
              <a:rPr lang="nb-NO" sz="2400" b="1" dirty="0"/>
              <a:t>Still needs a lot of patching...</a:t>
            </a:r>
            <a:br>
              <a:rPr lang="nb-NO" sz="2400" b="1" dirty="0"/>
            </a:br>
            <a:endParaRPr lang="nb-NO" sz="2400" b="1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9987C8-15C9-4B46-A8AE-5F1FA1EE7A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0354" y="1188487"/>
            <a:ext cx="6572250" cy="18859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CFDC7D3-F84A-48B5-A2E8-833EA7A55C5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1508" y="4426987"/>
            <a:ext cx="6553200" cy="1628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F971CAD-8C05-4DEE-A1F8-23DDF96BC7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56382" y="2817262"/>
            <a:ext cx="6753225" cy="160972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4A095B3-2646-426F-9B7C-DD0E4954DB0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58176" y="1188487"/>
            <a:ext cx="6724650" cy="17335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1C99D7E-DC3D-4E05-A14C-56C9CC45D6C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66344" y="4440983"/>
            <a:ext cx="6486525" cy="158115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E357E33-A957-4A72-B94B-E9718139B7D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0167" y="1334265"/>
            <a:ext cx="5436177" cy="457571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5F2040D-4C93-42DF-BD3C-19BBFB5F223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91821" y="2417017"/>
            <a:ext cx="6219825" cy="1857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2519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347465" y="333768"/>
            <a:ext cx="12101565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Is two factor enough? (no...)</a:t>
            </a:r>
          </a:p>
        </p:txBody>
      </p:sp>
      <p:pic>
        <p:nvPicPr>
          <p:cNvPr id="7" name="Picture 2" descr="Ransomware groups continue to target healthcare, critical services; here's  how to reduce risk - Microsoft Security">
            <a:extLst>
              <a:ext uri="{FF2B5EF4-FFF2-40B4-BE49-F238E27FC236}">
                <a16:creationId xmlns:a16="http://schemas.microsoft.com/office/drawing/2014/main" id="{587C041A-8101-4A16-A126-98F6D81167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5826" y="2061246"/>
            <a:ext cx="6106174" cy="3053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0F2D619-0B01-44D0-B425-C6F287D974DF}"/>
              </a:ext>
            </a:extLst>
          </p:cNvPr>
          <p:cNvSpPr txBox="1">
            <a:spLocks/>
          </p:cNvSpPr>
          <p:nvPr/>
        </p:nvSpPr>
        <p:spPr>
          <a:xfrm>
            <a:off x="493894" y="1253330"/>
            <a:ext cx="5944743" cy="5270901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2200" kern="1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145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Tahoma" panose="020B0604030504040204" pitchFamily="34" charset="0"/>
              <a:buChar char="​"/>
              <a:defRPr sz="2200" kern="1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79000"/>
              </a:lnSpc>
              <a:spcBef>
                <a:spcPts val="2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b="1" kern="1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-5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111125" indent="-111125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Calibri Light" panose="020F0302020204030204" pitchFamily="34" charset="0"/>
              <a:buChar char="“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30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spcAft>
                <a:spcPts val="1000"/>
              </a:spcAft>
              <a:buFont typeface="Tahoma" panose="020B0604030504040204" pitchFamily="34" charset="0"/>
              <a:buChar char="​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ct val="160000"/>
              </a:lnSpc>
            </a:pPr>
            <a:r>
              <a:rPr lang="nb-NO" sz="17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Ransomware is ufortunately </a:t>
            </a:r>
            <a:r>
              <a:rPr lang="nb-NO" sz="1700" u="sng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big business</a:t>
            </a:r>
            <a:endParaRPr lang="nb-NO" sz="1700" b="1" u="sng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60000"/>
              </a:lnSpc>
            </a:pPr>
            <a:r>
              <a:rPr lang="nb-NO" sz="17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65% of all ransomware attacks start via phising campaigns</a:t>
            </a:r>
          </a:p>
          <a:p>
            <a:pPr>
              <a:lnSpc>
                <a:spcPct val="160000"/>
              </a:lnSpc>
            </a:pPr>
            <a:r>
              <a:rPr lang="nb-NO" sz="17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Other attack vectors: Identity, Vulnerabilities, </a:t>
            </a:r>
            <a:br>
              <a:rPr lang="nb-NO" sz="1700" dirty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nb-NO" sz="17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&amp; Brute-force</a:t>
            </a:r>
          </a:p>
          <a:p>
            <a:pPr>
              <a:lnSpc>
                <a:spcPct val="160000"/>
              </a:lnSpc>
            </a:pPr>
            <a:r>
              <a:rPr lang="nb-NO" sz="17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ttacks happening about every 11th second</a:t>
            </a:r>
          </a:p>
          <a:p>
            <a:pPr>
              <a:lnSpc>
                <a:spcPct val="160000"/>
              </a:lnSpc>
            </a:pPr>
            <a:r>
              <a:rPr lang="nb-NO" sz="17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85% of all ransomware attacks are aimed against </a:t>
            </a:r>
            <a:br>
              <a:rPr lang="nb-NO" sz="1700" dirty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nb-NO" sz="17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indows enviroments</a:t>
            </a:r>
          </a:p>
          <a:p>
            <a:pPr lvl="1">
              <a:lnSpc>
                <a:spcPct val="160000"/>
              </a:lnSpc>
            </a:pPr>
            <a:r>
              <a:rPr lang="nb-NO" sz="15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SXi, Mac OSX, Linux</a:t>
            </a:r>
          </a:p>
          <a:p>
            <a:pPr>
              <a:lnSpc>
                <a:spcPct val="160000"/>
              </a:lnSpc>
            </a:pPr>
            <a:r>
              <a:rPr lang="nb-NO" sz="17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eeing alot more vulnerabilities comparing 2019 to 2020</a:t>
            </a:r>
          </a:p>
          <a:p>
            <a:pPr>
              <a:lnSpc>
                <a:spcPct val="160000"/>
              </a:lnSpc>
            </a:pPr>
            <a:r>
              <a:rPr lang="nb-NO" sz="17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Ransomware 2.0 aiming more at data exfiltration </a:t>
            </a:r>
            <a:r>
              <a:rPr lang="nb-NO" sz="1700" dirty="0">
                <a:latin typeface="Segoe UI Semibold" panose="020B0702040204020203" pitchFamily="34" charset="0"/>
                <a:cs typeface="Segoe UI Semibold" panose="020B0702040204020203" pitchFamily="34" charset="0"/>
                <a:sym typeface="Wingdings" panose="05000000000000000000" pitchFamily="2" charset="2"/>
              </a:rPr>
              <a:t>  </a:t>
            </a:r>
            <a:endParaRPr lang="nb-NO" sz="17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nb-NO" sz="20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93304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347465" y="333768"/>
            <a:ext cx="12101565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So where does Zero-Trust and SASE fit in?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2BCA003-DF1C-4045-B3FB-2F88D60862DA}"/>
              </a:ext>
            </a:extLst>
          </p:cNvPr>
          <p:cNvSpPr txBox="1">
            <a:spLocks/>
          </p:cNvSpPr>
          <p:nvPr/>
        </p:nvSpPr>
        <p:spPr>
          <a:xfrm>
            <a:off x="493894" y="1253331"/>
            <a:ext cx="5602106" cy="516638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2200" kern="1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145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Tahoma" panose="020B0604030504040204" pitchFamily="34" charset="0"/>
              <a:buChar char="​"/>
              <a:defRPr sz="2200" kern="1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79000"/>
              </a:lnSpc>
              <a:spcBef>
                <a:spcPts val="2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b="1" kern="1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-5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111125" indent="-111125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Calibri Light" panose="020F0302020204030204" pitchFamily="34" charset="0"/>
              <a:buChar char="“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30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spcAft>
                <a:spcPts val="1000"/>
              </a:spcAft>
              <a:buFont typeface="Tahoma" panose="020B0604030504040204" pitchFamily="34" charset="0"/>
              <a:buChar char="​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Zero-Trust (Trust no one) Treat everyone as hostile</a:t>
            </a:r>
          </a:p>
          <a:p>
            <a:pPr>
              <a:lnSpc>
                <a:spcPct val="150000"/>
              </a:lnSpc>
            </a:pPr>
            <a:r>
              <a:rPr lang="en-US" sz="1600" b="0" i="0" dirty="0">
                <a:solidFill>
                  <a:srgbClr val="000000"/>
                </a:soli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rPr>
              <a:t>Dynamic evaluation of the risk (Not just at initial connection) 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isk often determined by (User, Device, Session, Transport)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his often requires large datasets to predict abnormal traffic patters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ore</a:t>
            </a:r>
            <a:r>
              <a:rPr lang="en-US" sz="1600" strike="sngStrike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leeping </a:t>
            </a:r>
            <a:r>
              <a:rPr lang="en-US" sz="1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Reading Material) </a:t>
            </a:r>
            <a:r>
              <a:rPr lang="en-US" sz="1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  <a:sym typeface="Wingdings" panose="05000000000000000000" pitchFamily="2" charset="2"/>
              </a:rPr>
              <a:t> </a:t>
            </a: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  <a:hlinkClick r:id="rId5"/>
              </a:rPr>
              <a:t>SP 800-207, Zero Trust Architecture | CSRC (nist.gov)</a:t>
            </a:r>
            <a:endParaRPr lang="en-US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very vendor “jumping onboard” </a:t>
            </a: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F0AEEA-AAA5-42DA-966A-B1F115D0ED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96836" y="1586204"/>
            <a:ext cx="6277741" cy="4217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1717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347465" y="333768"/>
            <a:ext cx="12101565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What About SASE?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2BCA003-DF1C-4045-B3FB-2F88D60862DA}"/>
              </a:ext>
            </a:extLst>
          </p:cNvPr>
          <p:cNvSpPr txBox="1">
            <a:spLocks/>
          </p:cNvSpPr>
          <p:nvPr/>
        </p:nvSpPr>
        <p:spPr>
          <a:xfrm>
            <a:off x="493893" y="1253331"/>
            <a:ext cx="6184379" cy="5166388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2200" kern="1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145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Tahoma" panose="020B0604030504040204" pitchFamily="34" charset="0"/>
              <a:buChar char="​"/>
              <a:defRPr sz="2200" kern="1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79000"/>
              </a:lnSpc>
              <a:spcBef>
                <a:spcPts val="2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b="1" kern="1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-5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111125" indent="-111125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Calibri Light" panose="020F0302020204030204" pitchFamily="34" charset="0"/>
              <a:buChar char="“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30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spcAft>
                <a:spcPts val="1000"/>
              </a:spcAft>
              <a:buFont typeface="Tahoma" panose="020B0604030504040204" pitchFamily="34" charset="0"/>
              <a:buChar char="​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nother hype train?</a:t>
            </a:r>
          </a:p>
          <a:p>
            <a:pPr>
              <a:lnSpc>
                <a:spcPct val="150000"/>
              </a:lnSpc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 new architectual model for future networking and security</a:t>
            </a:r>
          </a:p>
          <a:p>
            <a:pPr>
              <a:lnSpc>
                <a:spcPct val="150000"/>
              </a:lnSpc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 delivery of decentralized security services combined with cloud based services</a:t>
            </a:r>
          </a:p>
          <a:p>
            <a:pPr>
              <a:lnSpc>
                <a:spcPct val="150000"/>
              </a:lnSpc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ombining a package of technologies</a:t>
            </a:r>
          </a:p>
          <a:p>
            <a:pPr lvl="1">
              <a:lnSpc>
                <a:spcPct val="150000"/>
              </a:lnSpc>
            </a:pPr>
            <a:r>
              <a:rPr lang="nb-NO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D-WAN – More Intelligent Traffic Flow</a:t>
            </a:r>
          </a:p>
          <a:p>
            <a:pPr lvl="1">
              <a:lnSpc>
                <a:spcPct val="150000"/>
              </a:lnSpc>
            </a:pPr>
            <a:r>
              <a:rPr lang="nb-NO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ecure Web Gateway  - Web Security Mechanisms</a:t>
            </a:r>
          </a:p>
          <a:p>
            <a:pPr lvl="1">
              <a:lnSpc>
                <a:spcPct val="150000"/>
              </a:lnSpc>
            </a:pPr>
            <a:r>
              <a:rPr lang="nb-NO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loud App Security Broker – API Integerated Security to Cloud Services</a:t>
            </a:r>
          </a:p>
          <a:p>
            <a:pPr lvl="1">
              <a:lnSpc>
                <a:spcPct val="150000"/>
              </a:lnSpc>
            </a:pPr>
            <a:r>
              <a:rPr lang="nb-NO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Zero-Trust Network Access – Handling access to applications and services</a:t>
            </a:r>
          </a:p>
          <a:p>
            <a:pPr lvl="1">
              <a:lnSpc>
                <a:spcPct val="150000"/>
              </a:lnSpc>
            </a:pPr>
            <a:r>
              <a:rPr lang="nb-NO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Firewall As A Service</a:t>
            </a:r>
          </a:p>
          <a:p>
            <a:pPr lvl="1">
              <a:lnSpc>
                <a:spcPct val="150000"/>
              </a:lnSpc>
            </a:pPr>
            <a:r>
              <a:rPr lang="nb-NO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nd more! Depending on vendor...</a:t>
            </a: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AB434E7-78F9-443B-B125-1EB362142D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78272" y="1579173"/>
            <a:ext cx="4853862" cy="4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2147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347465" y="333768"/>
            <a:ext cx="12101565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Zero-Trust solutions and services from vendor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2BCA003-DF1C-4045-B3FB-2F88D60862DA}"/>
              </a:ext>
            </a:extLst>
          </p:cNvPr>
          <p:cNvSpPr txBox="1">
            <a:spLocks/>
          </p:cNvSpPr>
          <p:nvPr/>
        </p:nvSpPr>
        <p:spPr>
          <a:xfrm>
            <a:off x="493894" y="1253331"/>
            <a:ext cx="5602106" cy="516638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2200" kern="1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145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Tahoma" panose="020B0604030504040204" pitchFamily="34" charset="0"/>
              <a:buChar char="​"/>
              <a:defRPr sz="2200" kern="1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79000"/>
              </a:lnSpc>
              <a:spcBef>
                <a:spcPts val="2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b="1" kern="1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-5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111125" indent="-111125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Calibri Light" panose="020F0302020204030204" pitchFamily="34" charset="0"/>
              <a:buChar char="“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30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spcAft>
                <a:spcPts val="1000"/>
              </a:spcAft>
              <a:buFont typeface="Tahoma" panose="020B0604030504040204" pitchFamily="34" charset="0"/>
              <a:buChar char="​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3AF5597D-39C2-4130-8575-9D18153D94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4033671"/>
              </p:ext>
            </p:extLst>
          </p:nvPr>
        </p:nvGraphicFramePr>
        <p:xfrm>
          <a:off x="347465" y="1040670"/>
          <a:ext cx="11262887" cy="54697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0155">
                  <a:extLst>
                    <a:ext uri="{9D8B030D-6E8A-4147-A177-3AD203B41FA5}">
                      <a16:colId xmlns:a16="http://schemas.microsoft.com/office/drawing/2014/main" val="3231850338"/>
                    </a:ext>
                  </a:extLst>
                </a:gridCol>
                <a:gridCol w="2888648">
                  <a:extLst>
                    <a:ext uri="{9D8B030D-6E8A-4147-A177-3AD203B41FA5}">
                      <a16:colId xmlns:a16="http://schemas.microsoft.com/office/drawing/2014/main" val="601774767"/>
                    </a:ext>
                  </a:extLst>
                </a:gridCol>
                <a:gridCol w="2742079">
                  <a:extLst>
                    <a:ext uri="{9D8B030D-6E8A-4147-A177-3AD203B41FA5}">
                      <a16:colId xmlns:a16="http://schemas.microsoft.com/office/drawing/2014/main" val="4237765072"/>
                    </a:ext>
                  </a:extLst>
                </a:gridCol>
                <a:gridCol w="3342005">
                  <a:extLst>
                    <a:ext uri="{9D8B030D-6E8A-4147-A177-3AD203B41FA5}">
                      <a16:colId xmlns:a16="http://schemas.microsoft.com/office/drawing/2014/main" val="2087879275"/>
                    </a:ext>
                  </a:extLst>
                </a:gridCol>
              </a:tblGrid>
              <a:tr h="544128">
                <a:tc>
                  <a:txBody>
                    <a:bodyPr/>
                    <a:lstStyle/>
                    <a:p>
                      <a:r>
                        <a:rPr lang="nb-NO" sz="2400" dirty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Product</a:t>
                      </a:r>
                      <a:endParaRPr lang="en-US" sz="2400" dirty="0"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400" dirty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Microsoft</a:t>
                      </a:r>
                      <a:endParaRPr lang="en-US" sz="2400" dirty="0"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400" dirty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Citrix</a:t>
                      </a:r>
                      <a:endParaRPr lang="en-US" sz="2400" dirty="0"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400" dirty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VMware</a:t>
                      </a:r>
                      <a:endParaRPr lang="en-US" sz="2400" dirty="0"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7879675"/>
                  </a:ext>
                </a:extLst>
              </a:tr>
              <a:tr h="732958">
                <a:tc>
                  <a:txBody>
                    <a:bodyPr/>
                    <a:lstStyle/>
                    <a:p>
                      <a:r>
                        <a:rPr lang="nb-NO" sz="1200" b="1" dirty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Zero-Trust Network Access</a:t>
                      </a:r>
                      <a:endParaRPr lang="en-US" sz="1200" b="1" dirty="0"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Azure Active Directory Conditinal Access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Citrix Workspace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VMware Workspace One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8888366"/>
                  </a:ext>
                </a:extLst>
              </a:tr>
              <a:tr h="544128">
                <a:tc>
                  <a:txBody>
                    <a:bodyPr/>
                    <a:lstStyle/>
                    <a:p>
                      <a:r>
                        <a:rPr lang="nb-NO" sz="1200" b="1" dirty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Identity Service</a:t>
                      </a:r>
                      <a:endParaRPr lang="en-US" sz="1200" b="1" dirty="0"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Azure Active Directory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Azure Active Directory, Okta, Gateway (RADIUS), SAML, Duo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VMware Workspace One Access, RADIUS, SAML, Duo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5900227"/>
                  </a:ext>
                </a:extLst>
              </a:tr>
              <a:tr h="272064">
                <a:tc>
                  <a:txBody>
                    <a:bodyPr/>
                    <a:lstStyle/>
                    <a:p>
                      <a:r>
                        <a:rPr lang="nb-NO" sz="1200" b="1" dirty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Device Management</a:t>
                      </a:r>
                      <a:endParaRPr lang="en-US" sz="1200" b="1" dirty="0"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Endpoint Manager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Citrix Endpoint Manager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VMware UEM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6550971"/>
                  </a:ext>
                </a:extLst>
              </a:tr>
              <a:tr h="272064">
                <a:tc>
                  <a:txBody>
                    <a:bodyPr/>
                    <a:lstStyle/>
                    <a:p>
                      <a:r>
                        <a:rPr lang="nb-NO" sz="1200" b="1" dirty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EDR (Endpoint Detection and Response) </a:t>
                      </a:r>
                      <a:endParaRPr lang="en-US" sz="1200" b="1" dirty="0"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Microsoft Defender for Endpoint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N/A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Carbon Black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3752913"/>
                  </a:ext>
                </a:extLst>
              </a:tr>
              <a:tr h="345719">
                <a:tc>
                  <a:txBody>
                    <a:bodyPr/>
                    <a:lstStyle/>
                    <a:p>
                      <a:r>
                        <a:rPr lang="nb-NO" sz="1200" b="1" dirty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Secure Web Gateway</a:t>
                      </a:r>
                      <a:endParaRPr lang="en-US" sz="1200" b="1" dirty="0"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Cloud App Security / Defender ATP (Sort of...)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Citrix Secure Workspace Access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VMware Cloud Web Security (by Menlo Security)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1268932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r>
                        <a:rPr lang="nb-NO" sz="1200" b="1" dirty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Cloud Firewall</a:t>
                      </a:r>
                      <a:endParaRPr lang="en-US" sz="1200" b="1" dirty="0"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Citrix Web App Firewall Service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Vmware NSX Cloud Firewall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  <a:p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4711007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r>
                        <a:rPr lang="nb-NO" sz="1200" b="1" dirty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Remote Browser Isolation</a:t>
                      </a:r>
                      <a:endParaRPr lang="en-US" sz="1200" b="1" dirty="0"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Citrix Secure Browser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(By Menlo Security) 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720585"/>
                  </a:ext>
                </a:extLst>
              </a:tr>
              <a:tr h="544128">
                <a:tc>
                  <a:txBody>
                    <a:bodyPr/>
                    <a:lstStyle/>
                    <a:p>
                      <a:r>
                        <a:rPr lang="nb-NO" sz="1200" b="1" dirty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SD-WAN</a:t>
                      </a:r>
                      <a:endParaRPr lang="en-US" sz="1200" b="1" dirty="0"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N/A (Azure Virtual WAN) but only in Azure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Citrix SD-WAN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VMware SD-WAN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1410054"/>
                  </a:ext>
                </a:extLst>
              </a:tr>
              <a:tr h="544128">
                <a:tc>
                  <a:txBody>
                    <a:bodyPr/>
                    <a:lstStyle/>
                    <a:p>
                      <a:r>
                        <a:rPr lang="nb-NO" sz="1200" b="1" dirty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Cloud Access Security Broker</a:t>
                      </a:r>
                      <a:endParaRPr lang="en-US" sz="1200" b="1" dirty="0"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Cloud App Security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Built-in or Cloud App Security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(By Menlo Security)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2857932"/>
                  </a:ext>
                </a:extLst>
              </a:tr>
              <a:tr h="544128">
                <a:tc>
                  <a:txBody>
                    <a:bodyPr/>
                    <a:lstStyle/>
                    <a:p>
                      <a:r>
                        <a:rPr lang="nb-NO" sz="1200" b="1" dirty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Threat Intelligence</a:t>
                      </a:r>
                      <a:endParaRPr lang="en-US" sz="1200" b="1" dirty="0"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Microsoft Security Graph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Citrix Analytics for Security and Microsoft Security Graph</a:t>
                      </a:r>
                    </a:p>
                    <a:p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VMware Edge Network Intelligence</a:t>
                      </a:r>
                      <a:endParaRPr lang="en-US" sz="12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17005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54424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347465" y="333768"/>
            <a:ext cx="12101565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Threat Intelligence and Analytic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2BCA003-DF1C-4045-B3FB-2F88D60862DA}"/>
              </a:ext>
            </a:extLst>
          </p:cNvPr>
          <p:cNvSpPr txBox="1">
            <a:spLocks/>
          </p:cNvSpPr>
          <p:nvPr/>
        </p:nvSpPr>
        <p:spPr>
          <a:xfrm>
            <a:off x="493894" y="1253331"/>
            <a:ext cx="5602106" cy="516638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2200" kern="1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145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Tahoma" panose="020B0604030504040204" pitchFamily="34" charset="0"/>
              <a:buChar char="​"/>
              <a:defRPr sz="2200" kern="1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79000"/>
              </a:lnSpc>
              <a:spcBef>
                <a:spcPts val="2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b="1" kern="1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-5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111125" indent="-111125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Calibri Light" panose="020F0302020204030204" pitchFamily="34" charset="0"/>
              <a:buChar char="“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30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spcAft>
                <a:spcPts val="1000"/>
              </a:spcAft>
              <a:buFont typeface="Tahoma" panose="020B0604030504040204" pitchFamily="34" charset="0"/>
              <a:buChar char="​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6146" name="Picture 2" descr="What Is Citrix Analytics? Security and Performance Analytics Solutions -  Citrix Philippines">
            <a:extLst>
              <a:ext uri="{FF2B5EF4-FFF2-40B4-BE49-F238E27FC236}">
                <a16:creationId xmlns:a16="http://schemas.microsoft.com/office/drawing/2014/main" id="{4DFFF262-4828-4E06-A3CA-644089BE68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7214" y="1253331"/>
            <a:ext cx="4919870" cy="1905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Risk Scoring">
            <a:extLst>
              <a:ext uri="{FF2B5EF4-FFF2-40B4-BE49-F238E27FC236}">
                <a16:creationId xmlns:a16="http://schemas.microsoft.com/office/drawing/2014/main" id="{784BFAD5-64B8-4EA5-B63E-555B3A4D0C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1262" y="3377827"/>
            <a:ext cx="3410124" cy="2493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F37E06C-854F-4EB1-B53D-BB443EA805CC}"/>
              </a:ext>
            </a:extLst>
          </p:cNvPr>
          <p:cNvSpPr txBox="1"/>
          <p:nvPr/>
        </p:nvSpPr>
        <p:spPr>
          <a:xfrm>
            <a:off x="1067135" y="1460399"/>
            <a:ext cx="3153104" cy="123110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b="1" dirty="0"/>
              <a:t>Citrix Analytics for Security</a:t>
            </a:r>
          </a:p>
          <a:p>
            <a:r>
              <a:rPr lang="nb-NO" sz="1400" b="1" dirty="0"/>
              <a:t>+ Microsoft Graph Security Risk indicators</a:t>
            </a:r>
          </a:p>
          <a:p>
            <a:r>
              <a:rPr lang="nb-NO" sz="1400" b="1" dirty="0"/>
              <a:t>+ Active Directory</a:t>
            </a:r>
          </a:p>
          <a:p>
            <a:r>
              <a:rPr lang="nb-NO" sz="1400" b="1" dirty="0"/>
              <a:t>+ Splunk</a:t>
            </a:r>
            <a:endParaRPr lang="en-US" sz="1400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6A8711-C163-48B0-8AF6-C8CF2B2B9558}"/>
              </a:ext>
            </a:extLst>
          </p:cNvPr>
          <p:cNvSpPr txBox="1"/>
          <p:nvPr/>
        </p:nvSpPr>
        <p:spPr>
          <a:xfrm>
            <a:off x="1067135" y="3836525"/>
            <a:ext cx="3153104" cy="107721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i="0" dirty="0">
                <a:effectLst/>
              </a:rPr>
              <a:t>Workspace ONE Intelligence Risk Analytics</a:t>
            </a:r>
          </a:p>
          <a:p>
            <a:r>
              <a:rPr lang="en-US" sz="1400" b="1" dirty="0"/>
              <a:t>+ Carbon Black Cloud</a:t>
            </a:r>
          </a:p>
          <a:p>
            <a:r>
              <a:rPr lang="en-US" sz="1400" b="1" dirty="0"/>
              <a:t>+ VMware Threat Network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041BBE41-B019-4A0A-A7C6-F9F6CCE9816E}"/>
              </a:ext>
            </a:extLst>
          </p:cNvPr>
          <p:cNvCxnSpPr>
            <a:stCxn id="3" idx="3"/>
            <a:endCxn id="6146" idx="1"/>
          </p:cNvCxnSpPr>
          <p:nvPr/>
        </p:nvCxnSpPr>
        <p:spPr>
          <a:xfrm>
            <a:off x="4220239" y="2075952"/>
            <a:ext cx="1076975" cy="129963"/>
          </a:xfrm>
          <a:prstGeom prst="straightConnector1">
            <a:avLst/>
          </a:prstGeom>
          <a:ln w="12700" cap="rnd"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65F24B50-FD8D-4CF4-9D3D-F7547C5A92B2}"/>
              </a:ext>
            </a:extLst>
          </p:cNvPr>
          <p:cNvCxnSpPr>
            <a:endCxn id="6148" idx="1"/>
          </p:cNvCxnSpPr>
          <p:nvPr/>
        </p:nvCxnSpPr>
        <p:spPr>
          <a:xfrm>
            <a:off x="3985523" y="4375134"/>
            <a:ext cx="1985739" cy="249319"/>
          </a:xfrm>
          <a:prstGeom prst="straightConnector1">
            <a:avLst/>
          </a:prstGeom>
          <a:ln w="12700" cap="rnd"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88296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795206" y="395943"/>
            <a:ext cx="12101565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So much Analytics.... Across different sourc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2BCA003-DF1C-4045-B3FB-2F88D60862DA}"/>
              </a:ext>
            </a:extLst>
          </p:cNvPr>
          <p:cNvSpPr txBox="1">
            <a:spLocks/>
          </p:cNvSpPr>
          <p:nvPr/>
        </p:nvSpPr>
        <p:spPr>
          <a:xfrm>
            <a:off x="493894" y="1253331"/>
            <a:ext cx="5602106" cy="516638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2200" kern="1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145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Tahoma" panose="020B0604030504040204" pitchFamily="34" charset="0"/>
              <a:buChar char="​"/>
              <a:defRPr sz="2200" kern="1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79000"/>
              </a:lnSpc>
              <a:spcBef>
                <a:spcPts val="2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b="1" kern="1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-5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111125" indent="-111125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Calibri Light" panose="020F0302020204030204" pitchFamily="34" charset="0"/>
              <a:buChar char="“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30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spcAft>
                <a:spcPts val="1000"/>
              </a:spcAft>
              <a:buFont typeface="Tahoma" panose="020B0604030504040204" pitchFamily="34" charset="0"/>
              <a:buChar char="​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F37E06C-854F-4EB1-B53D-BB443EA805CC}"/>
              </a:ext>
            </a:extLst>
          </p:cNvPr>
          <p:cNvSpPr txBox="1"/>
          <p:nvPr/>
        </p:nvSpPr>
        <p:spPr>
          <a:xfrm>
            <a:off x="1067135" y="1460399"/>
            <a:ext cx="3153104" cy="33855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600" b="1" dirty="0"/>
              <a:t>- Citrix Analytics for Performanc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6A8711-C163-48B0-8AF6-C8CF2B2B9558}"/>
              </a:ext>
            </a:extLst>
          </p:cNvPr>
          <p:cNvSpPr txBox="1"/>
          <p:nvPr/>
        </p:nvSpPr>
        <p:spPr>
          <a:xfrm>
            <a:off x="1067135" y="2454204"/>
            <a:ext cx="3153104" cy="107721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600" b="1" i="0" dirty="0">
                <a:effectLst/>
              </a:rPr>
              <a:t>- VMware Workspace ONE Intelligence</a:t>
            </a:r>
          </a:p>
          <a:p>
            <a:r>
              <a:rPr lang="en-US" sz="1600" b="1" i="0" dirty="0">
                <a:effectLst/>
              </a:rPr>
              <a:t>Digital Employee Experience Manage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64806E7-3CFF-4040-AE77-ABEADD904129}"/>
              </a:ext>
            </a:extLst>
          </p:cNvPr>
          <p:cNvSpPr txBox="1"/>
          <p:nvPr/>
        </p:nvSpPr>
        <p:spPr>
          <a:xfrm>
            <a:off x="1067135" y="4650707"/>
            <a:ext cx="3153104" cy="83099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600" b="1" i="0" dirty="0">
                <a:effectLst/>
              </a:rPr>
              <a:t>-     Microsoft Desktop Analytics</a:t>
            </a:r>
          </a:p>
          <a:p>
            <a:pPr marL="285750" indent="-285750">
              <a:buFontTx/>
              <a:buChar char="-"/>
            </a:pPr>
            <a:r>
              <a:rPr lang="en-US" sz="1600" b="1" i="0" dirty="0">
                <a:effectLst/>
              </a:rPr>
              <a:t>Workspace Analytics</a:t>
            </a:r>
          </a:p>
          <a:p>
            <a:pPr marL="285750" indent="-285750">
              <a:buFontTx/>
              <a:buChar char="-"/>
            </a:pPr>
            <a:r>
              <a:rPr lang="en-US" sz="1600" b="1" i="0" dirty="0">
                <a:effectLst/>
              </a:rPr>
              <a:t>Endpoint Analytic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1883CD9-678F-4C4D-9A7E-2C8197CB2DA0}"/>
              </a:ext>
            </a:extLst>
          </p:cNvPr>
          <p:cNvSpPr txBox="1"/>
          <p:nvPr/>
        </p:nvSpPr>
        <p:spPr>
          <a:xfrm>
            <a:off x="5899456" y="1383454"/>
            <a:ext cx="5118203" cy="80021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b="1" dirty="0"/>
              <a:t>Data Sources: </a:t>
            </a:r>
          </a:p>
          <a:p>
            <a:r>
              <a:rPr lang="nb-NO" sz="1400" dirty="0"/>
              <a:t>	- Citrix Virtual Apps and Desktop</a:t>
            </a:r>
          </a:p>
          <a:p>
            <a:r>
              <a:rPr lang="nb-NO" sz="1400" dirty="0"/>
              <a:t>	- Citrix Gatewa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B9197DE-B5EE-4563-8955-CDB3136064C9}"/>
              </a:ext>
            </a:extLst>
          </p:cNvPr>
          <p:cNvSpPr txBox="1"/>
          <p:nvPr/>
        </p:nvSpPr>
        <p:spPr>
          <a:xfrm>
            <a:off x="5899455" y="2556736"/>
            <a:ext cx="5118203" cy="80021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b="1" dirty="0"/>
              <a:t>Data Sources: </a:t>
            </a:r>
          </a:p>
          <a:p>
            <a:r>
              <a:rPr lang="nb-NO" sz="1400" dirty="0"/>
              <a:t>	- Windows 10 Devices</a:t>
            </a:r>
          </a:p>
          <a:p>
            <a:r>
              <a:rPr lang="nb-NO" sz="1400" dirty="0"/>
              <a:t>	- Mobile Applications with Intelligence SDK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9F20028-1779-4747-9907-B43D11CD399C}"/>
              </a:ext>
            </a:extLst>
          </p:cNvPr>
          <p:cNvSpPr txBox="1"/>
          <p:nvPr/>
        </p:nvSpPr>
        <p:spPr>
          <a:xfrm>
            <a:off x="5834718" y="3643802"/>
            <a:ext cx="5118203" cy="80021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b="1" dirty="0"/>
              <a:t>Data Sources (Desktop Analytics): </a:t>
            </a:r>
          </a:p>
          <a:p>
            <a:r>
              <a:rPr lang="nb-NO" sz="1400" dirty="0"/>
              <a:t>	- Windows 7, Windows 8.1 &amp; Windows 10</a:t>
            </a:r>
          </a:p>
          <a:p>
            <a:r>
              <a:rPr lang="nb-NO" sz="1400" dirty="0"/>
              <a:t>	- Requires System Center Configuration Manag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9FCD190-FD6D-49F9-907A-66F39F95E694}"/>
              </a:ext>
            </a:extLst>
          </p:cNvPr>
          <p:cNvSpPr txBox="1"/>
          <p:nvPr/>
        </p:nvSpPr>
        <p:spPr>
          <a:xfrm>
            <a:off x="5834718" y="4608672"/>
            <a:ext cx="5118203" cy="80021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b="1" dirty="0"/>
              <a:t>Data Sources (Workspace Analytics): </a:t>
            </a:r>
          </a:p>
          <a:p>
            <a:r>
              <a:rPr lang="nb-NO" sz="1400" dirty="0"/>
              <a:t>	- Office 365 or Microsoft 365 license</a:t>
            </a:r>
          </a:p>
          <a:p>
            <a:r>
              <a:rPr lang="nb-NO" sz="1400" dirty="0"/>
              <a:t>	- Enterprise Agreement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BCBEC4C5-E43B-44A0-B896-08124426330C}"/>
              </a:ext>
            </a:extLst>
          </p:cNvPr>
          <p:cNvCxnSpPr>
            <a:stCxn id="9" idx="3"/>
            <a:endCxn id="13" idx="1"/>
          </p:cNvCxnSpPr>
          <p:nvPr/>
        </p:nvCxnSpPr>
        <p:spPr>
          <a:xfrm flipV="1">
            <a:off x="4220239" y="2956846"/>
            <a:ext cx="1679216" cy="35967"/>
          </a:xfrm>
          <a:prstGeom prst="straightConnector1">
            <a:avLst/>
          </a:prstGeom>
          <a:ln w="12700" cap="rnd"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3D9F093-53BC-494D-A995-FD45A9927C1E}"/>
              </a:ext>
            </a:extLst>
          </p:cNvPr>
          <p:cNvCxnSpPr>
            <a:stCxn id="11" idx="3"/>
            <a:endCxn id="14" idx="1"/>
          </p:cNvCxnSpPr>
          <p:nvPr/>
        </p:nvCxnSpPr>
        <p:spPr>
          <a:xfrm flipV="1">
            <a:off x="4220239" y="4043912"/>
            <a:ext cx="1614479" cy="1022294"/>
          </a:xfrm>
          <a:prstGeom prst="straightConnector1">
            <a:avLst/>
          </a:prstGeom>
          <a:ln w="12700" cap="rnd"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63AC768-CD16-444B-885B-BDF775D715C8}"/>
              </a:ext>
            </a:extLst>
          </p:cNvPr>
          <p:cNvCxnSpPr>
            <a:cxnSpLocks/>
            <a:stCxn id="11" idx="3"/>
            <a:endCxn id="15" idx="1"/>
          </p:cNvCxnSpPr>
          <p:nvPr/>
        </p:nvCxnSpPr>
        <p:spPr>
          <a:xfrm flipV="1">
            <a:off x="4220239" y="5008782"/>
            <a:ext cx="1614479" cy="57424"/>
          </a:xfrm>
          <a:prstGeom prst="straightConnector1">
            <a:avLst/>
          </a:prstGeom>
          <a:ln w="12700" cap="rnd"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041786E4-6172-4039-AE9F-D8ACB5D3F800}"/>
              </a:ext>
            </a:extLst>
          </p:cNvPr>
          <p:cNvCxnSpPr>
            <a:endCxn id="12" idx="1"/>
          </p:cNvCxnSpPr>
          <p:nvPr/>
        </p:nvCxnSpPr>
        <p:spPr>
          <a:xfrm>
            <a:off x="4220239" y="1783563"/>
            <a:ext cx="1679217" cy="1"/>
          </a:xfrm>
          <a:prstGeom prst="straightConnector1">
            <a:avLst/>
          </a:prstGeom>
          <a:ln w="12700" cap="rnd"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D5B99DE9-A9F3-4625-9B6C-38BA2FF4D7FC}"/>
              </a:ext>
            </a:extLst>
          </p:cNvPr>
          <p:cNvSpPr txBox="1"/>
          <p:nvPr/>
        </p:nvSpPr>
        <p:spPr>
          <a:xfrm>
            <a:off x="5834718" y="5547275"/>
            <a:ext cx="5118203" cy="80021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b="1" dirty="0"/>
              <a:t>Data Sources (Endpoint Analytics): </a:t>
            </a:r>
          </a:p>
          <a:p>
            <a:r>
              <a:rPr lang="nb-NO" sz="1400" dirty="0"/>
              <a:t>	- Windows 10</a:t>
            </a:r>
          </a:p>
          <a:p>
            <a:r>
              <a:rPr lang="nb-NO" sz="1400" dirty="0"/>
              <a:t>	- SCCM or Intune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47DCB168-60A9-4244-807F-88D7B874F4A8}"/>
              </a:ext>
            </a:extLst>
          </p:cNvPr>
          <p:cNvCxnSpPr>
            <a:stCxn id="11" idx="3"/>
            <a:endCxn id="26" idx="1"/>
          </p:cNvCxnSpPr>
          <p:nvPr/>
        </p:nvCxnSpPr>
        <p:spPr>
          <a:xfrm>
            <a:off x="4220239" y="5066206"/>
            <a:ext cx="1614479" cy="881179"/>
          </a:xfrm>
          <a:prstGeom prst="straightConnector1">
            <a:avLst/>
          </a:prstGeom>
          <a:ln w="12700" cap="rnd"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89711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347465" y="333768"/>
            <a:ext cx="12101565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200" b="1" dirty="0"/>
              <a:t>Modern Workplace and passwordless authentication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2EEDEE3-07EF-42E2-AA91-2F5D76A99615}"/>
              </a:ext>
            </a:extLst>
          </p:cNvPr>
          <p:cNvSpPr txBox="1">
            <a:spLocks/>
          </p:cNvSpPr>
          <p:nvPr/>
        </p:nvSpPr>
        <p:spPr>
          <a:xfrm>
            <a:off x="493893" y="1160025"/>
            <a:ext cx="6184379" cy="5166388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2200" kern="1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145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Tahoma" panose="020B0604030504040204" pitchFamily="34" charset="0"/>
              <a:buChar char="​"/>
              <a:defRPr sz="2200" kern="1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79000"/>
              </a:lnSpc>
              <a:spcBef>
                <a:spcPts val="2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b="1" kern="1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-5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111125" indent="-111125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Calibri Light" panose="020F0302020204030204" pitchFamily="34" charset="0"/>
              <a:buChar char="“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30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spcAft>
                <a:spcPts val="1000"/>
              </a:spcAft>
              <a:buFont typeface="Tahoma" panose="020B0604030504040204" pitchFamily="34" charset="0"/>
              <a:buChar char="​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an we get away from using passwords please?</a:t>
            </a:r>
          </a:p>
          <a:p>
            <a:pPr>
              <a:lnSpc>
                <a:spcPct val="150000"/>
              </a:lnSpc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Pretty much built-into Windows now</a:t>
            </a:r>
          </a:p>
          <a:p>
            <a:pPr>
              <a:lnSpc>
                <a:spcPct val="150000"/>
              </a:lnSpc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Now also GA within Azure Active Directory</a:t>
            </a:r>
          </a:p>
          <a:p>
            <a:pPr>
              <a:lnSpc>
                <a:spcPct val="150000"/>
              </a:lnSpc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lso supported for Hybrid Scenarioes</a:t>
            </a:r>
          </a:p>
          <a:p>
            <a:pPr lvl="1">
              <a:lnSpc>
                <a:spcPct val="150000"/>
              </a:lnSpc>
            </a:pPr>
            <a:r>
              <a:rPr lang="en-US" sz="1400" b="0" i="0" dirty="0">
                <a:solidFill>
                  <a:srgbClr val="171717"/>
                </a:soli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rPr>
              <a:t>Windows-Integrated authentication</a:t>
            </a:r>
            <a:endParaRPr lang="nb-NO" sz="1400" b="0" i="0" dirty="0">
              <a:solidFill>
                <a:srgbClr val="171717"/>
              </a:solidFill>
              <a:effectLst/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r>
              <a:rPr lang="nb-NO" sz="1400" dirty="0">
                <a:solidFill>
                  <a:srgbClr val="17171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NTLM Authentication</a:t>
            </a:r>
          </a:p>
          <a:p>
            <a:pPr lvl="1">
              <a:lnSpc>
                <a:spcPct val="150000"/>
              </a:lnSpc>
            </a:pPr>
            <a:r>
              <a:rPr lang="nb-NO" sz="1400" dirty="0">
                <a:solidFill>
                  <a:srgbClr val="17171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IIS Authentication</a:t>
            </a:r>
          </a:p>
          <a:p>
            <a:pPr>
              <a:lnSpc>
                <a:spcPct val="150000"/>
              </a:lnSpc>
            </a:pPr>
            <a:r>
              <a:rPr lang="nb-NO" sz="1800" dirty="0">
                <a:solidFill>
                  <a:srgbClr val="17171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es it work with Citrix/VMware/WVD?</a:t>
            </a:r>
          </a:p>
          <a:p>
            <a:pPr lvl="1">
              <a:lnSpc>
                <a:spcPct val="150000"/>
              </a:lnSpc>
            </a:pPr>
            <a:r>
              <a:rPr lang="nb-NO" sz="1400" dirty="0">
                <a:solidFill>
                  <a:srgbClr val="17171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itrix FAS and Azure AD</a:t>
            </a:r>
          </a:p>
          <a:p>
            <a:pPr lvl="1">
              <a:lnSpc>
                <a:spcPct val="150000"/>
              </a:lnSpc>
            </a:pPr>
            <a:r>
              <a:rPr lang="nb-NO" sz="1400" dirty="0">
                <a:solidFill>
                  <a:srgbClr val="17171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Mware Mobile SSO and or Azure AD</a:t>
            </a:r>
          </a:p>
          <a:p>
            <a:pPr lvl="1">
              <a:lnSpc>
                <a:spcPct val="150000"/>
              </a:lnSpc>
            </a:pPr>
            <a:r>
              <a:rPr lang="nb-NO" sz="1400" dirty="0">
                <a:solidFill>
                  <a:srgbClr val="17171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VD – Almost... For web-front end but not full SSO</a:t>
            </a: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3074" name="Picture 2" descr="thumbnail image 5 of blog post titled &#10; &#10; &#10;  &#10; &#10; &#10; &#10;    &#10;  &#10;   &#10;    &#10;      &#10;       Passwordless authentication is now generally available!&#10;       &#10;      &#10;     &#10;   &#10;  &#10; &#10;   &#10; &#10; &#10; &#10; &#10; &#10;">
            <a:extLst>
              <a:ext uri="{FF2B5EF4-FFF2-40B4-BE49-F238E27FC236}">
                <a16:creationId xmlns:a16="http://schemas.microsoft.com/office/drawing/2014/main" id="{B62AA618-0BAF-4558-961F-00DF0AC772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8408" y="1912218"/>
            <a:ext cx="6622918" cy="3311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66210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347465" y="333768"/>
            <a:ext cx="12101565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Feature updates from Microsoft/Citrix/VMwar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F6208B1-8C6F-4176-874C-B1F79CA5197B}"/>
              </a:ext>
            </a:extLst>
          </p:cNvPr>
          <p:cNvSpPr txBox="1">
            <a:spLocks/>
          </p:cNvSpPr>
          <p:nvPr/>
        </p:nvSpPr>
        <p:spPr>
          <a:xfrm>
            <a:off x="493893" y="1160025"/>
            <a:ext cx="6184379" cy="516638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2200" kern="1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145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Tahoma" panose="020B0604030504040204" pitchFamily="34" charset="0"/>
              <a:buChar char="​"/>
              <a:defRPr sz="2200" kern="1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79000"/>
              </a:lnSpc>
              <a:spcBef>
                <a:spcPts val="2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b="1" kern="1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-5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111125" indent="-111125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Calibri Light" panose="020F0302020204030204" pitchFamily="34" charset="0"/>
              <a:buChar char="“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30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spcAft>
                <a:spcPts val="1000"/>
              </a:spcAft>
              <a:buFont typeface="Tahoma" panose="020B0604030504040204" pitchFamily="34" charset="0"/>
              <a:buChar char="​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nb-NO" sz="18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indows Virtual Desktop</a:t>
            </a:r>
          </a:p>
          <a:p>
            <a:pPr lvl="1">
              <a:lnSpc>
                <a:spcPct val="150000"/>
              </a:lnSpc>
            </a:pPr>
            <a:r>
              <a:rPr lang="nb-NO" sz="1600" dirty="0">
                <a:solidFill>
                  <a:srgbClr val="17171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etadata in West Europe </a:t>
            </a:r>
          </a:p>
          <a:p>
            <a:pPr lvl="1">
              <a:lnSpc>
                <a:spcPct val="150000"/>
              </a:lnSpc>
            </a:pPr>
            <a:r>
              <a:rPr lang="nb-NO" sz="1600" dirty="0">
                <a:solidFill>
                  <a:srgbClr val="17171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DP Shortpath</a:t>
            </a:r>
          </a:p>
          <a:p>
            <a:pPr lvl="1">
              <a:lnSpc>
                <a:spcPct val="150000"/>
              </a:lnSpc>
            </a:pPr>
            <a:r>
              <a:rPr lang="nb-NO" sz="1600" dirty="0">
                <a:solidFill>
                  <a:srgbClr val="17171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upport for Defender for Endpoint</a:t>
            </a:r>
          </a:p>
          <a:p>
            <a:pPr lvl="1">
              <a:lnSpc>
                <a:spcPct val="150000"/>
              </a:lnSpc>
            </a:pPr>
            <a:r>
              <a:rPr lang="nb-NO" sz="1600" dirty="0">
                <a:solidFill>
                  <a:srgbClr val="17171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SIX App Attach Public Preview</a:t>
            </a:r>
          </a:p>
          <a:p>
            <a:pPr lvl="1">
              <a:lnSpc>
                <a:spcPct val="150000"/>
              </a:lnSpc>
            </a:pPr>
            <a:r>
              <a:rPr lang="nb-NO" sz="1600" dirty="0">
                <a:solidFill>
                  <a:srgbClr val="17171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creen Capture Protection </a:t>
            </a:r>
          </a:p>
          <a:p>
            <a:pPr lvl="1">
              <a:lnSpc>
                <a:spcPct val="150000"/>
              </a:lnSpc>
            </a:pPr>
            <a:r>
              <a:rPr lang="nb-NO" sz="1600" dirty="0">
                <a:solidFill>
                  <a:srgbClr val="17171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Monitor for WVD</a:t>
            </a:r>
          </a:p>
          <a:p>
            <a:pPr lvl="1">
              <a:lnSpc>
                <a:spcPct val="150000"/>
              </a:lnSpc>
            </a:pPr>
            <a:r>
              <a:rPr lang="nb-NO" sz="1600" dirty="0">
                <a:solidFill>
                  <a:srgbClr val="17171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ultiple new regions where control/data plane now placed</a:t>
            </a:r>
          </a:p>
          <a:p>
            <a:pPr lvl="2">
              <a:lnSpc>
                <a:spcPct val="150000"/>
              </a:lnSpc>
            </a:pPr>
            <a:r>
              <a:rPr lang="en-US" sz="1400" dirty="0">
                <a:hlinkClick r:id="rId5"/>
              </a:rPr>
              <a:t>https://azure.microsoft.com/en-us/services/virtual-desktop/assessment/</a:t>
            </a:r>
            <a:endParaRPr lang="nb-NO" sz="1400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r>
              <a:rPr lang="nb-NO" sz="1600" dirty="0">
                <a:solidFill>
                  <a:srgbClr val="17171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ams Optimized offloading using WebSocket + Zoom Support</a:t>
            </a:r>
          </a:p>
          <a:p>
            <a:pPr lvl="2">
              <a:lnSpc>
                <a:spcPct val="150000"/>
              </a:lnSpc>
            </a:pPr>
            <a:r>
              <a:rPr lang="en-US" sz="1600" dirty="0">
                <a:hlinkClick r:id="rId6"/>
              </a:rPr>
              <a:t>New updates for Virtual Desktop Infrastructure (VDI) – Zoom Help Center</a:t>
            </a:r>
            <a:endParaRPr lang="nb-NO" sz="1400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r>
              <a:rPr lang="nb-NO" sz="1600" dirty="0">
                <a:solidFill>
                  <a:srgbClr val="17171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rt on User Connect (Coming)</a:t>
            </a: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4098" name="Picture 2" descr="Windows Virtual Desktop Traffic Flow and GPU Workloads | Marius Sandbu">
            <a:extLst>
              <a:ext uri="{FF2B5EF4-FFF2-40B4-BE49-F238E27FC236}">
                <a16:creationId xmlns:a16="http://schemas.microsoft.com/office/drawing/2014/main" id="{B85C1294-D40B-4222-A399-EECECC7AFD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7152" y="1362778"/>
            <a:ext cx="6184380" cy="1788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155E206-9D09-4B72-A46E-BBAD08AF9D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99890" y="3570720"/>
            <a:ext cx="4747423" cy="2061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9517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763103" y="136125"/>
            <a:ext cx="10521424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Windows Virtual Desktop and Ecosyste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132A55-5B66-4836-82EC-9C657A1AE1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54331" y="848541"/>
            <a:ext cx="5339824" cy="521195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85394CB-4BC2-45AB-9940-0CF7166989E1}"/>
              </a:ext>
            </a:extLst>
          </p:cNvPr>
          <p:cNvSpPr txBox="1"/>
          <p:nvPr/>
        </p:nvSpPr>
        <p:spPr>
          <a:xfrm>
            <a:off x="7335694" y="6075775"/>
            <a:ext cx="609494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Visio: </a:t>
            </a:r>
            <a:r>
              <a:rPr lang="en-US" b="1" dirty="0">
                <a:latin typeface="Segoe UI Semibold" panose="020B0702040204020203" pitchFamily="34" charset="0"/>
                <a:cs typeface="Segoe UI Semibold" panose="020B0702040204020203" pitchFamily="34" charset="0"/>
                <a:hlinkClick r:id="rId6"/>
              </a:rPr>
              <a:t>https://bit.ly/msandbunv</a:t>
            </a:r>
            <a:endParaRPr lang="en-US" b="1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en-US" b="1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F4F2C93-7F5B-4EA2-955C-AD85700B4603}"/>
              </a:ext>
            </a:extLst>
          </p:cNvPr>
          <p:cNvSpPr txBox="1">
            <a:spLocks/>
          </p:cNvSpPr>
          <p:nvPr/>
        </p:nvSpPr>
        <p:spPr>
          <a:xfrm>
            <a:off x="453475" y="1342667"/>
            <a:ext cx="6953737" cy="516638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2200" kern="1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145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Tahoma" panose="020B0604030504040204" pitchFamily="34" charset="0"/>
              <a:buChar char="​"/>
              <a:defRPr sz="2200" kern="1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79000"/>
              </a:lnSpc>
              <a:spcBef>
                <a:spcPts val="2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b="1" kern="1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-5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111125" indent="-111125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Calibri Light" panose="020F0302020204030204" pitchFamily="34" charset="0"/>
              <a:buChar char="“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30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spcAft>
                <a:spcPts val="1000"/>
              </a:spcAft>
              <a:buFont typeface="Tahoma" panose="020B0604030504040204" pitchFamily="34" charset="0"/>
              <a:buChar char="​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VD can consist of many moving components</a:t>
            </a:r>
          </a:p>
          <a:p>
            <a:pPr lvl="2">
              <a:lnSpc>
                <a:spcPct val="150000"/>
              </a:lnSpc>
            </a:pP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zure AIB, Azure ARM, Azure Monitor, Azure AD</a:t>
            </a:r>
          </a:p>
          <a:p>
            <a:pPr lvl="2">
              <a:lnSpc>
                <a:spcPct val="150000"/>
              </a:lnSpc>
            </a:pP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loud Native or rely on 3.party management to abstract away? 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VD has a big ecosystem already</a:t>
            </a:r>
          </a:p>
          <a:p>
            <a:pPr lvl="2">
              <a:lnSpc>
                <a:spcPct val="150000"/>
              </a:lnSpc>
            </a:pP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Recent support by new thin client vendors</a:t>
            </a:r>
          </a:p>
          <a:p>
            <a:pPr lvl="2">
              <a:lnSpc>
                <a:spcPct val="150000"/>
              </a:lnSpc>
            </a:pP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Integration ecosystem 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 lot of great community offerings!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nhanced Management Capabilities</a:t>
            </a:r>
          </a:p>
          <a:p>
            <a:pPr lvl="1">
              <a:lnSpc>
                <a:spcPct val="150000"/>
              </a:lnSpc>
            </a:pPr>
            <a:endParaRPr lang="en-US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400" b="0" i="0" dirty="0">
              <a:effectLst/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97926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644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30FEDC9-CC47-384B-AAF5-A005BA825CC3}"/>
              </a:ext>
            </a:extLst>
          </p:cNvPr>
          <p:cNvSpPr/>
          <p:nvPr/>
        </p:nvSpPr>
        <p:spPr>
          <a:xfrm>
            <a:off x="254000" y="6515100"/>
            <a:ext cx="2057400" cy="177800"/>
          </a:xfrm>
          <a:prstGeom prst="rect">
            <a:avLst/>
          </a:prstGeom>
          <a:solidFill>
            <a:srgbClr val="064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F9F20425-5145-C04F-87FB-CB96EF6252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6200000">
            <a:off x="-2385413" y="2053458"/>
            <a:ext cx="7336226" cy="275108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EDF44B4-E5F1-9048-AC37-A34589CC17CA}"/>
              </a:ext>
            </a:extLst>
          </p:cNvPr>
          <p:cNvSpPr/>
          <p:nvPr/>
        </p:nvSpPr>
        <p:spPr>
          <a:xfrm>
            <a:off x="10236200" y="6057900"/>
            <a:ext cx="1701800" cy="800100"/>
          </a:xfrm>
          <a:prstGeom prst="rect">
            <a:avLst/>
          </a:prstGeom>
          <a:solidFill>
            <a:srgbClr val="064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5FFBCA-BFD0-9140-8E4E-BF2F61531CE0}"/>
              </a:ext>
            </a:extLst>
          </p:cNvPr>
          <p:cNvSpPr txBox="1"/>
          <p:nvPr/>
        </p:nvSpPr>
        <p:spPr>
          <a:xfrm>
            <a:off x="2658243" y="2421578"/>
            <a:ext cx="9135709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6000" dirty="0">
                <a:solidFill>
                  <a:schemeClr val="bg1"/>
                </a:solidFill>
              </a:rPr>
              <a:t>EUC State of the Union </a:t>
            </a:r>
            <a:r>
              <a:rPr lang="en-US" sz="6000" strike="sngStrike" dirty="0">
                <a:solidFill>
                  <a:schemeClr val="bg1"/>
                </a:solidFill>
              </a:rPr>
              <a:t>2020 </a:t>
            </a:r>
            <a:br>
              <a:rPr lang="en-US" sz="6000" strike="sngStrike" dirty="0">
                <a:solidFill>
                  <a:schemeClr val="bg1"/>
                </a:solidFill>
              </a:rPr>
            </a:br>
            <a:r>
              <a:rPr lang="en-US" sz="6000" dirty="0">
                <a:solidFill>
                  <a:schemeClr val="bg1"/>
                </a:solidFill>
              </a:rPr>
              <a:t>2021 Edition</a:t>
            </a:r>
            <a:br>
              <a:rPr lang="nb-NO" sz="1600" dirty="0">
                <a:solidFill>
                  <a:schemeClr val="bg1"/>
                </a:solidFill>
              </a:rPr>
            </a:br>
            <a:br>
              <a:rPr lang="nb-NO" sz="1600" dirty="0">
                <a:solidFill>
                  <a:schemeClr val="bg1"/>
                </a:solidFill>
              </a:rPr>
            </a:br>
            <a:r>
              <a:rPr lang="en-US" sz="1600" b="0" dirty="0">
                <a:solidFill>
                  <a:schemeClr val="bg1"/>
                </a:solidFill>
              </a:rPr>
              <a:t> </a:t>
            </a:r>
            <a:br>
              <a:rPr lang="en-US" sz="1600" b="0" dirty="0">
                <a:solidFill>
                  <a:schemeClr val="bg1"/>
                </a:solidFill>
              </a:rPr>
            </a:br>
            <a:endParaRPr lang="en-US" sz="2400" dirty="0">
              <a:solidFill>
                <a:schemeClr val="bg1"/>
              </a:solidFill>
              <a:latin typeface="Avenir Light" panose="020B0402020203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021653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347465" y="340074"/>
            <a:ext cx="12101565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Feature updates from Microsoft/Citrix/VMwar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F6208B1-8C6F-4176-874C-B1F79CA5197B}"/>
              </a:ext>
            </a:extLst>
          </p:cNvPr>
          <p:cNvSpPr txBox="1">
            <a:spLocks/>
          </p:cNvSpPr>
          <p:nvPr/>
        </p:nvSpPr>
        <p:spPr>
          <a:xfrm>
            <a:off x="493893" y="1160025"/>
            <a:ext cx="8391553" cy="516638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2200" kern="1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145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Tahoma" panose="020B0604030504040204" pitchFamily="34" charset="0"/>
              <a:buChar char="​"/>
              <a:defRPr sz="2200" kern="1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79000"/>
              </a:lnSpc>
              <a:spcBef>
                <a:spcPts val="2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b="1" kern="1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-5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111125" indent="-111125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Calibri Light" panose="020F0302020204030204" pitchFamily="34" charset="0"/>
              <a:buChar char="“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30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spcAft>
                <a:spcPts val="1000"/>
              </a:spcAft>
              <a:buFont typeface="Tahoma" panose="020B0604030504040204" pitchFamily="34" charset="0"/>
              <a:buChar char="​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nb-NO" sz="18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itrix Cloud Virtual Apps and Desktops</a:t>
            </a:r>
          </a:p>
          <a:p>
            <a:pPr lvl="1">
              <a:lnSpc>
                <a:spcPct val="150000"/>
              </a:lnSpc>
            </a:pPr>
            <a:r>
              <a:rPr lang="en-US" sz="1600" b="0" i="0" dirty="0">
                <a:solidFill>
                  <a:srgbClr val="000000"/>
                </a:soli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rPr>
              <a:t>Service continuity for Citrix Cloud</a:t>
            </a:r>
          </a:p>
          <a:p>
            <a:pPr lvl="1">
              <a:lnSpc>
                <a:spcPct val="150000"/>
              </a:lnSpc>
            </a:pPr>
            <a:r>
              <a:rPr lang="nb-NO" sz="1600" dirty="0">
                <a:solidFill>
                  <a:srgbClr val="17171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eb Studio (Preview)</a:t>
            </a:r>
          </a:p>
          <a:p>
            <a:pPr lvl="1">
              <a:lnSpc>
                <a:spcPct val="150000"/>
              </a:lnSpc>
            </a:pPr>
            <a:r>
              <a:rPr lang="nb-NO" sz="1600" dirty="0">
                <a:solidFill>
                  <a:srgbClr val="17171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upport for storing machine images in Azure Shared</a:t>
            </a:r>
            <a:br>
              <a:rPr lang="nb-NO" sz="1600" dirty="0">
                <a:solidFill>
                  <a:srgbClr val="17171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nb-NO" sz="1600" dirty="0">
                <a:solidFill>
                  <a:srgbClr val="17171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Image Gallery</a:t>
            </a:r>
          </a:p>
          <a:p>
            <a:pPr lvl="1">
              <a:lnSpc>
                <a:spcPct val="150000"/>
              </a:lnSpc>
            </a:pPr>
            <a:r>
              <a:rPr lang="en-US" sz="1600" b="0" i="0" dirty="0">
                <a:solidFill>
                  <a:srgbClr val="000000"/>
                </a:soli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rPr>
              <a:t>Rendezvous protocol 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RAG AND DROP! </a:t>
            </a:r>
          </a:p>
          <a:p>
            <a:pPr lvl="1">
              <a:lnSpc>
                <a:spcPct val="150000"/>
              </a:lnSpc>
            </a:pPr>
            <a:r>
              <a:rPr lang="en-US" sz="1600" b="0" i="0" dirty="0">
                <a:solidFill>
                  <a:srgbClr val="000000"/>
                </a:solidFill>
                <a:effectLst/>
                <a:latin typeface="Segoe UI Semibold" panose="020B0702040204020203" pitchFamily="34" charset="0"/>
                <a:cs typeface="Segoe UI Semibold" panose="020B0702040204020203" pitchFamily="34" charset="0"/>
              </a:rPr>
              <a:t>Virtual Biometric Authentication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pp Protection Policies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utomated Configuration Tool (Script)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upport for any SAML as Identity Provider</a:t>
            </a:r>
          </a:p>
          <a:p>
            <a:pPr lvl="1">
              <a:lnSpc>
                <a:spcPct val="150000"/>
              </a:lnSpc>
            </a:pPr>
            <a:endParaRPr lang="en-US" sz="1400" dirty="0">
              <a:solidFill>
                <a:srgbClr val="000000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400" dirty="0">
              <a:solidFill>
                <a:srgbClr val="000000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400" b="0" i="0" dirty="0">
              <a:solidFill>
                <a:srgbClr val="000000"/>
              </a:solidFill>
              <a:effectLst/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8B989E-BDC9-4BC5-84A4-CEF90F585C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05698" y="1667467"/>
            <a:ext cx="5465258" cy="4541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6095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347465" y="333768"/>
            <a:ext cx="12101565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Feature updates from Microsoft/Citrix/VMwar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F6208B1-8C6F-4176-874C-B1F79CA5197B}"/>
              </a:ext>
            </a:extLst>
          </p:cNvPr>
          <p:cNvSpPr txBox="1">
            <a:spLocks/>
          </p:cNvSpPr>
          <p:nvPr/>
        </p:nvSpPr>
        <p:spPr>
          <a:xfrm>
            <a:off x="493893" y="1160025"/>
            <a:ext cx="6184379" cy="516638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2200" kern="1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145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Tahoma" panose="020B0604030504040204" pitchFamily="34" charset="0"/>
              <a:buChar char="​"/>
              <a:defRPr sz="2200" kern="1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79000"/>
              </a:lnSpc>
              <a:spcBef>
                <a:spcPts val="2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b="1" kern="1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-5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111125" indent="-111125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Calibri Light" panose="020F0302020204030204" pitchFamily="34" charset="0"/>
              <a:buChar char="“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30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spcAft>
                <a:spcPts val="1000"/>
              </a:spcAft>
              <a:buFont typeface="Tahoma" panose="020B0604030504040204" pitchFamily="34" charset="0"/>
              <a:buChar char="​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nb-NO" sz="18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VMware Workspace One</a:t>
            </a:r>
          </a:p>
          <a:p>
            <a:pPr lvl="1">
              <a:lnSpc>
                <a:spcPct val="150000"/>
              </a:lnSpc>
            </a:pPr>
            <a:r>
              <a:rPr lang="nb-NO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Tech Preview – Freestyle Orchestrator</a:t>
            </a:r>
          </a:p>
          <a:p>
            <a:pPr lvl="1">
              <a:lnSpc>
                <a:spcPct val="150000"/>
              </a:lnSpc>
            </a:pPr>
            <a:r>
              <a:rPr lang="nb-NO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Integrate with Azure Active Directory Conditional Access</a:t>
            </a:r>
          </a:p>
          <a:p>
            <a:pPr lvl="1">
              <a:lnSpc>
                <a:spcPct val="150000"/>
              </a:lnSpc>
            </a:pPr>
            <a:r>
              <a:rPr lang="nb-NO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mployee Onboarding within Intelligence Hub</a:t>
            </a:r>
          </a:p>
          <a:p>
            <a:pPr lvl="1">
              <a:lnSpc>
                <a:spcPct val="150000"/>
              </a:lnSpc>
            </a:pPr>
            <a:r>
              <a:rPr lang="nb-NO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In 2012 release, COPY AND PASTE!</a:t>
            </a:r>
          </a:p>
          <a:p>
            <a:pPr lvl="1">
              <a:lnSpc>
                <a:spcPct val="150000"/>
              </a:lnSpc>
            </a:pPr>
            <a:r>
              <a:rPr lang="nb-NO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obile Flow integration with new</a:t>
            </a:r>
            <a:br>
              <a:rPr lang="nb-NO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nb-NO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3.party applications within Hub</a:t>
            </a:r>
          </a:p>
          <a:p>
            <a:pPr lvl="1">
              <a:lnSpc>
                <a:spcPct val="150000"/>
              </a:lnSpc>
            </a:pPr>
            <a:r>
              <a:rPr lang="nb-NO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pp Volumes in Azure available</a:t>
            </a:r>
          </a:p>
          <a:p>
            <a:pPr lvl="1">
              <a:lnSpc>
                <a:spcPct val="150000"/>
              </a:lnSpc>
            </a:pPr>
            <a:r>
              <a:rPr lang="nb-NO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SIX AppAttach management via AppVolumes</a:t>
            </a:r>
          </a:p>
          <a:p>
            <a:pPr lvl="1">
              <a:lnSpc>
                <a:spcPct val="150000"/>
              </a:lnSpc>
            </a:pPr>
            <a:r>
              <a:rPr lang="nb-NO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orizon Cloud – Rolling out into new locations with control plane</a:t>
            </a:r>
          </a:p>
          <a:p>
            <a:pPr lvl="1">
              <a:lnSpc>
                <a:spcPct val="150000"/>
              </a:lnSpc>
            </a:pPr>
            <a:r>
              <a:rPr lang="nb-NO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o much new stuff for Horizon Cloud updates </a:t>
            </a:r>
            <a:r>
              <a:rPr lang="nb-NO" sz="1400" b="1" dirty="0">
                <a:latin typeface="Segoe UI Semibold" panose="020B0702040204020203" pitchFamily="34" charset="0"/>
                <a:cs typeface="Segoe UI Semibold" panose="020B0702040204020203" pitchFamily="34" charset="0"/>
                <a:sym typeface="Wingdings" panose="05000000000000000000" pitchFamily="2" charset="2"/>
              </a:rPr>
              <a:t> </a:t>
            </a:r>
          </a:p>
          <a:p>
            <a:pPr lvl="2">
              <a:lnSpc>
                <a:spcPct val="150000"/>
              </a:lnSpc>
            </a:pPr>
            <a:r>
              <a:rPr lang="en-US" sz="1200" dirty="0">
                <a:hlinkClick r:id="rId5"/>
              </a:rPr>
              <a:t>VMware Horizon Cloud Service Release Notes</a:t>
            </a:r>
            <a:endParaRPr lang="nb-NO" sz="1200" b="1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b="1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b="1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dirty="0">
              <a:solidFill>
                <a:srgbClr val="000000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dirty="0">
              <a:solidFill>
                <a:srgbClr val="000000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b="0" i="0" dirty="0">
              <a:solidFill>
                <a:srgbClr val="000000"/>
              </a:solidFill>
              <a:effectLst/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8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8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nb-NO" sz="18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A4F3C64C-7F9B-4B1C-B0F0-976A193436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1324" y="1362142"/>
            <a:ext cx="6015546" cy="3389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69429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347465" y="333768"/>
            <a:ext cx="12101565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So where are we at Cloud support?</a:t>
            </a: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224F953D-F667-4160-B04A-6C7A227808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7351902"/>
              </p:ext>
            </p:extLst>
          </p:nvPr>
        </p:nvGraphicFramePr>
        <p:xfrm>
          <a:off x="669081" y="1280918"/>
          <a:ext cx="10688397" cy="2865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6524">
                  <a:extLst>
                    <a:ext uri="{9D8B030D-6E8A-4147-A177-3AD203B41FA5}">
                      <a16:colId xmlns:a16="http://schemas.microsoft.com/office/drawing/2014/main" val="3822424983"/>
                    </a:ext>
                  </a:extLst>
                </a:gridCol>
                <a:gridCol w="2766859">
                  <a:extLst>
                    <a:ext uri="{9D8B030D-6E8A-4147-A177-3AD203B41FA5}">
                      <a16:colId xmlns:a16="http://schemas.microsoft.com/office/drawing/2014/main" val="2820224910"/>
                    </a:ext>
                  </a:extLst>
                </a:gridCol>
                <a:gridCol w="2546675">
                  <a:extLst>
                    <a:ext uri="{9D8B030D-6E8A-4147-A177-3AD203B41FA5}">
                      <a16:colId xmlns:a16="http://schemas.microsoft.com/office/drawing/2014/main" val="2082260261"/>
                    </a:ext>
                  </a:extLst>
                </a:gridCol>
                <a:gridCol w="2478339">
                  <a:extLst>
                    <a:ext uri="{9D8B030D-6E8A-4147-A177-3AD203B41FA5}">
                      <a16:colId xmlns:a16="http://schemas.microsoft.com/office/drawing/2014/main" val="17798521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dirty="0"/>
                        <a:t>Clou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Windows Virtual Desktop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Citrix Clou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VMware Horizon Cloud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9424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b="1" dirty="0"/>
                        <a:t>Microsoft Azure Iaa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Y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Y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Ye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08928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b="1" dirty="0"/>
                        <a:t>Google Cloud Iaa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Nop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Y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No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76952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b="1" dirty="0"/>
                        <a:t>Amazon Web Services Iaa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Not here eith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Y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No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49063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b="1" dirty="0"/>
                        <a:t>Azure VMware Solution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Don’t think s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Y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Ye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27405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b="1" dirty="0"/>
                        <a:t>Google Cloud VMware Engine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Ha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Y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Ye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61416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b="1" dirty="0"/>
                        <a:t>VMware on AW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Not gonna happe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Y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Ye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410875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591DCED-AFD2-4745-8666-FE33B06115CA}"/>
              </a:ext>
            </a:extLst>
          </p:cNvPr>
          <p:cNvSpPr txBox="1"/>
          <p:nvPr/>
        </p:nvSpPr>
        <p:spPr>
          <a:xfrm>
            <a:off x="744132" y="4502632"/>
            <a:ext cx="3266616" cy="123110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2000" b="1" dirty="0"/>
              <a:t>Azur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WVD - No builtin provisio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Citrix &amp; VMware has image provisoning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018A389-E5BF-41BE-941B-07323599AFD8}"/>
              </a:ext>
            </a:extLst>
          </p:cNvPr>
          <p:cNvSpPr txBox="1"/>
          <p:nvPr/>
        </p:nvSpPr>
        <p:spPr>
          <a:xfrm>
            <a:off x="4379971" y="4502632"/>
            <a:ext cx="3266616" cy="150810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2000" b="1" dirty="0"/>
              <a:t>Goog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WVD – Not supported, (works technically) but control plane in Az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Citrix has image provison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8F536D-0418-4CC3-A54A-B5D0104F44CB}"/>
              </a:ext>
            </a:extLst>
          </p:cNvPr>
          <p:cNvSpPr txBox="1"/>
          <p:nvPr/>
        </p:nvSpPr>
        <p:spPr>
          <a:xfrm>
            <a:off x="8090862" y="4502632"/>
            <a:ext cx="3266616" cy="150810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2000" b="1" dirty="0"/>
              <a:t>A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WVD – Not supported, (works technically) but control plane in Az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Citrix has image provison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85002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763103" y="520804"/>
            <a:ext cx="7735700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Cloud Updates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49FD6B9-5380-4FA6-9ED8-0386F02C7531}"/>
              </a:ext>
            </a:extLst>
          </p:cNvPr>
          <p:cNvSpPr txBox="1">
            <a:spLocks/>
          </p:cNvSpPr>
          <p:nvPr/>
        </p:nvSpPr>
        <p:spPr>
          <a:xfrm>
            <a:off x="493893" y="1160025"/>
            <a:ext cx="6953737" cy="5166388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2200" kern="1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145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Tahoma" panose="020B0604030504040204" pitchFamily="34" charset="0"/>
              <a:buChar char="​"/>
              <a:defRPr sz="2200" kern="1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79000"/>
              </a:lnSpc>
              <a:spcBef>
                <a:spcPts val="2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b="1" kern="1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-5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111125" indent="-111125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Calibri Light" panose="020F0302020204030204" pitchFamily="34" charset="0"/>
              <a:buChar char="“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30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spcAft>
                <a:spcPts val="1000"/>
              </a:spcAft>
              <a:buFont typeface="Tahoma" panose="020B0604030504040204" pitchFamily="34" charset="0"/>
              <a:buChar char="​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nb-NO" sz="18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icrosoft Azure + Microsoft 365</a:t>
            </a:r>
          </a:p>
          <a:p>
            <a:pPr lvl="1">
              <a:lnSpc>
                <a:spcPct val="150000"/>
              </a:lnSpc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zure Firewall Premium – IDPS and TLS Inspection (In Preview)</a:t>
            </a:r>
          </a:p>
          <a:p>
            <a:pPr lvl="1">
              <a:lnSpc>
                <a:spcPct val="150000"/>
              </a:lnSpc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icrosoft Tunnel (Seperate Slide)</a:t>
            </a:r>
          </a:p>
          <a:p>
            <a:pPr lvl="1">
              <a:lnSpc>
                <a:spcPct val="150000"/>
              </a:lnSpc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icrosoft Defender for Mobile Devices (Android &amp; iOS)</a:t>
            </a:r>
          </a:p>
          <a:p>
            <a:pPr lvl="1">
              <a:lnSpc>
                <a:spcPct val="150000"/>
              </a:lnSpc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icrosoft 365 – DLP Engine for SaaS and Windows endpoints (Built on AIP)</a:t>
            </a:r>
          </a:p>
          <a:p>
            <a:pPr lvl="1">
              <a:lnSpc>
                <a:spcPct val="150000"/>
              </a:lnSpc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Public Preview: Changing Performance Tier for Premium SSD Disks (without downtime)</a:t>
            </a:r>
          </a:p>
          <a:p>
            <a:pPr lvl="1">
              <a:lnSpc>
                <a:spcPct val="150000"/>
              </a:lnSpc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MB Multichannel Support for Azure Files</a:t>
            </a:r>
          </a:p>
          <a:p>
            <a:pPr lvl="1">
              <a:lnSpc>
                <a:spcPct val="150000"/>
              </a:lnSpc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zure Backup Support for Azure Files</a:t>
            </a:r>
          </a:p>
          <a:p>
            <a:pPr lvl="1">
              <a:lnSpc>
                <a:spcPct val="150000"/>
              </a:lnSpc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zure Automanage</a:t>
            </a:r>
          </a:p>
          <a:p>
            <a:pPr lvl="1">
              <a:lnSpc>
                <a:spcPct val="150000"/>
              </a:lnSpc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zure Routing Preferneces (GA yesterday)</a:t>
            </a:r>
          </a:p>
          <a:p>
            <a:pPr lvl="1">
              <a:lnSpc>
                <a:spcPct val="150000"/>
              </a:lnSpc>
            </a:pPr>
            <a:endParaRPr lang="en-US" sz="1400" dirty="0">
              <a:solidFill>
                <a:srgbClr val="000000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400" dirty="0">
              <a:solidFill>
                <a:srgbClr val="000000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400" b="0" i="0" dirty="0">
              <a:solidFill>
                <a:srgbClr val="000000"/>
              </a:solidFill>
              <a:effectLst/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93C15138-8615-43C0-9486-643C813FD3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0087" y="1294164"/>
            <a:ext cx="4568179" cy="3109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Route via Azure global network (cold potato routing)">
            <a:extLst>
              <a:ext uri="{FF2B5EF4-FFF2-40B4-BE49-F238E27FC236}">
                <a16:creationId xmlns:a16="http://schemas.microsoft.com/office/drawing/2014/main" id="{011CA792-35AE-4172-A36B-F894A0D105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548" y="5003498"/>
            <a:ext cx="4635062" cy="1054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42934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763103" y="520804"/>
            <a:ext cx="7735700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Cloud Updates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49FD6B9-5380-4FA6-9ED8-0386F02C7531}"/>
              </a:ext>
            </a:extLst>
          </p:cNvPr>
          <p:cNvSpPr txBox="1">
            <a:spLocks/>
          </p:cNvSpPr>
          <p:nvPr/>
        </p:nvSpPr>
        <p:spPr>
          <a:xfrm>
            <a:off x="493893" y="1160025"/>
            <a:ext cx="6953737" cy="516638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2200" kern="1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145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Tahoma" panose="020B0604030504040204" pitchFamily="34" charset="0"/>
              <a:buChar char="​"/>
              <a:defRPr sz="2200" kern="1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79000"/>
              </a:lnSpc>
              <a:spcBef>
                <a:spcPts val="2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b="1" kern="1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-5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111125" indent="-111125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Calibri Light" panose="020F0302020204030204" pitchFamily="34" charset="0"/>
              <a:buChar char="“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30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spcAft>
                <a:spcPts val="1000"/>
              </a:spcAft>
              <a:buFont typeface="Tahoma" panose="020B0604030504040204" pitchFamily="34" charset="0"/>
              <a:buChar char="​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nb-NO" sz="18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mazon Web Services</a:t>
            </a:r>
          </a:p>
          <a:p>
            <a:pPr lvl="1">
              <a:lnSpc>
                <a:spcPct val="150000"/>
              </a:lnSpc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mazon Workspaces and new Streaming Protocol (WSP)</a:t>
            </a:r>
          </a:p>
          <a:p>
            <a:pPr lvl="2">
              <a:lnSpc>
                <a:spcPct val="150000"/>
              </a:lnSpc>
            </a:pPr>
            <a:r>
              <a:rPr lang="nb-NO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imed at users with high-latency, bad connections</a:t>
            </a:r>
          </a:p>
          <a:p>
            <a:pPr lvl="2">
              <a:lnSpc>
                <a:spcPct val="150000"/>
              </a:lnSpc>
            </a:pPr>
            <a:r>
              <a:rPr lang="nb-NO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In addition to PCOIP </a:t>
            </a:r>
          </a:p>
          <a:p>
            <a:pPr lvl="1">
              <a:lnSpc>
                <a:spcPct val="150000"/>
              </a:lnSpc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C2 Mac instances! </a:t>
            </a:r>
          </a:p>
          <a:p>
            <a:pPr lvl="1">
              <a:lnSpc>
                <a:spcPct val="150000"/>
              </a:lnSpc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upport for Smart card authentication for Workspaces</a:t>
            </a:r>
          </a:p>
          <a:p>
            <a:pPr lvl="1">
              <a:lnSpc>
                <a:spcPct val="150000"/>
              </a:lnSpc>
            </a:pPr>
            <a:endParaRPr lang="en-US" sz="1400" dirty="0">
              <a:solidFill>
                <a:srgbClr val="000000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400" dirty="0">
              <a:solidFill>
                <a:srgbClr val="000000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400" b="0" i="0" dirty="0">
              <a:solidFill>
                <a:srgbClr val="000000"/>
              </a:solidFill>
              <a:effectLst/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4338" name="Picture 2" descr="AWS Announces Mac Instances for Amazon EC2">
            <a:extLst>
              <a:ext uri="{FF2B5EF4-FFF2-40B4-BE49-F238E27FC236}">
                <a16:creationId xmlns:a16="http://schemas.microsoft.com/office/drawing/2014/main" id="{9FA3B151-60C1-4335-B46F-DB3D30262A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4213" y="845236"/>
            <a:ext cx="4551451" cy="2742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C4162EF-CC62-40A4-AD69-EE2F51856BE0}"/>
              </a:ext>
            </a:extLst>
          </p:cNvPr>
          <p:cNvSpPr txBox="1"/>
          <p:nvPr/>
        </p:nvSpPr>
        <p:spPr>
          <a:xfrm>
            <a:off x="493893" y="4059810"/>
            <a:ext cx="6094948" cy="18873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18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Google Cloud Platform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BeyondCorp Enterprise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Zero-Trust based upon Chrome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cosystem of partner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Introduction of Google Workspace</a:t>
            </a:r>
          </a:p>
        </p:txBody>
      </p:sp>
      <p:pic>
        <p:nvPicPr>
          <p:cNvPr id="14340" name="Picture 4">
            <a:extLst>
              <a:ext uri="{FF2B5EF4-FFF2-40B4-BE49-F238E27FC236}">
                <a16:creationId xmlns:a16="http://schemas.microsoft.com/office/drawing/2014/main" id="{B03DA7AE-625A-4AEF-9019-81B3214932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1483" y="3676519"/>
            <a:ext cx="4354000" cy="2593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76774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763103" y="520804"/>
            <a:ext cx="7735700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Microsoft Tunnel (Preview)</a:t>
            </a:r>
          </a:p>
        </p:txBody>
      </p:sp>
      <p:pic>
        <p:nvPicPr>
          <p:cNvPr id="4098" name="Picture 2" descr="Learn about the Microsoft Tunnel VPN solution for Microsoft Intune - Azure  | Microsoft Docs">
            <a:extLst>
              <a:ext uri="{FF2B5EF4-FFF2-40B4-BE49-F238E27FC236}">
                <a16:creationId xmlns:a16="http://schemas.microsoft.com/office/drawing/2014/main" id="{D640F607-C2A6-45E4-AC34-8EF6C827ED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7208" y="1463518"/>
            <a:ext cx="5819192" cy="3185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E44CC73-F422-4D08-92FF-BBF17999619E}"/>
              </a:ext>
            </a:extLst>
          </p:cNvPr>
          <p:cNvSpPr txBox="1">
            <a:spLocks/>
          </p:cNvSpPr>
          <p:nvPr/>
        </p:nvSpPr>
        <p:spPr>
          <a:xfrm>
            <a:off x="493893" y="1160025"/>
            <a:ext cx="6953737" cy="516638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2200" kern="1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145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Tahoma" panose="020B0604030504040204" pitchFamily="34" charset="0"/>
              <a:buChar char="​"/>
              <a:defRPr sz="2200" kern="1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79000"/>
              </a:lnSpc>
              <a:spcBef>
                <a:spcPts val="2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b="1" kern="1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-5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111125" indent="-111125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Calibri Light" panose="020F0302020204030204" pitchFamily="34" charset="0"/>
              <a:buChar char="“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30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spcAft>
                <a:spcPts val="1000"/>
              </a:spcAft>
              <a:buFont typeface="Tahoma" panose="020B0604030504040204" pitchFamily="34" charset="0"/>
              <a:buChar char="​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nb-NO" sz="18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VPN Gateway Solution for Intune</a:t>
            </a:r>
          </a:p>
          <a:p>
            <a:pPr lvl="1">
              <a:lnSpc>
                <a:spcPct val="150000"/>
              </a:lnSpc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Runs as Docker Container on Linux</a:t>
            </a:r>
          </a:p>
          <a:p>
            <a:pPr lvl="1">
              <a:lnSpc>
                <a:spcPct val="150000"/>
              </a:lnSpc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upported for iOS and Android</a:t>
            </a:r>
          </a:p>
          <a:p>
            <a:pPr lvl="1">
              <a:lnSpc>
                <a:spcPct val="150000"/>
              </a:lnSpc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fter Ignite (Integrated with Defender app)</a:t>
            </a:r>
          </a:p>
          <a:p>
            <a:pPr lvl="2">
              <a:lnSpc>
                <a:spcPct val="150000"/>
              </a:lnSpc>
            </a:pPr>
            <a:r>
              <a:rPr lang="nb-NO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Public Preview soon</a:t>
            </a:r>
          </a:p>
          <a:p>
            <a:pPr lvl="1">
              <a:lnSpc>
                <a:spcPct val="150000"/>
              </a:lnSpc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Uses Azure AD to authenticate </a:t>
            </a:r>
          </a:p>
          <a:p>
            <a:pPr lvl="1">
              <a:lnSpc>
                <a:spcPct val="150000"/>
              </a:lnSpc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lso means Conditional Access</a:t>
            </a:r>
          </a:p>
          <a:p>
            <a:pPr lvl="1">
              <a:lnSpc>
                <a:spcPct val="150000"/>
              </a:lnSpc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anual connections or or-demand</a:t>
            </a:r>
          </a:p>
          <a:p>
            <a:pPr lvl="1">
              <a:lnSpc>
                <a:spcPct val="150000"/>
              </a:lnSpc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Per-App VPN or Full Tunnel</a:t>
            </a:r>
          </a:p>
          <a:p>
            <a:pPr lvl="1">
              <a:lnSpc>
                <a:spcPct val="150000"/>
              </a:lnSpc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utomatically updated when new release</a:t>
            </a:r>
          </a:p>
          <a:p>
            <a:pPr lvl="1">
              <a:lnSpc>
                <a:spcPct val="150000"/>
              </a:lnSpc>
            </a:pPr>
            <a:endParaRPr lang="en-US" sz="1400" dirty="0">
              <a:solidFill>
                <a:srgbClr val="000000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400" dirty="0">
              <a:solidFill>
                <a:srgbClr val="000000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400" b="0" i="0" dirty="0">
              <a:solidFill>
                <a:srgbClr val="000000"/>
              </a:solidFill>
              <a:effectLst/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solidFill>
                <a:srgbClr val="171717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75686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763103" y="520804"/>
            <a:ext cx="7735700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strike="sngStrike" dirty="0"/>
              <a:t>NetScaler </a:t>
            </a:r>
            <a:r>
              <a:rPr lang="nb-NO" sz="3733" b="1" dirty="0"/>
              <a:t>ADC Updat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DCC3C78-37CD-4D85-BA98-5CD72E8FEB44}"/>
              </a:ext>
            </a:extLst>
          </p:cNvPr>
          <p:cNvSpPr txBox="1">
            <a:spLocks/>
          </p:cNvSpPr>
          <p:nvPr/>
        </p:nvSpPr>
        <p:spPr>
          <a:xfrm>
            <a:off x="493893" y="1160025"/>
            <a:ext cx="6953737" cy="516638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2200" kern="1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145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Tahoma" panose="020B0604030504040204" pitchFamily="34" charset="0"/>
              <a:buChar char="​"/>
              <a:defRPr sz="2200" kern="1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79000"/>
              </a:lnSpc>
              <a:spcBef>
                <a:spcPts val="2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b="1" kern="1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-5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111125" indent="-111125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Calibri Light" panose="020F0302020204030204" pitchFamily="34" charset="0"/>
              <a:buChar char="“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30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spcAft>
                <a:spcPts val="1000"/>
              </a:spcAft>
              <a:buFont typeface="Tahoma" panose="020B0604030504040204" pitchFamily="34" charset="0"/>
              <a:buChar char="​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itrix NetScaler ADC support with Accelerated Networking in Azure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DC Support for Azure Stack Hub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upport for VMware ESX 7</a:t>
            </a:r>
          </a:p>
          <a:p>
            <a:pPr lvl="2">
              <a:lnSpc>
                <a:spcPct val="150000"/>
              </a:lnSpc>
            </a:pP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13.0 – 76.x supports ESX 7 Update 1</a:t>
            </a:r>
          </a:p>
          <a:p>
            <a:pPr lvl="1">
              <a:lnSpc>
                <a:spcPct val="150000"/>
              </a:lnSpc>
            </a:pPr>
            <a:r>
              <a:rPr lang="en-US" sz="1600" b="0" i="0" dirty="0" err="1">
                <a:effectLst/>
                <a:latin typeface="Segoe UI Semibold" panose="020B0702040204020203" pitchFamily="34" charset="0"/>
                <a:cs typeface="Segoe UI Semibold" panose="020B0702040204020203" pitchFamily="34" charset="0"/>
              </a:rPr>
              <a:t>nFactor</a:t>
            </a:r>
            <a:r>
              <a:rPr lang="en-US" sz="1600" b="0" i="0" dirty="0">
                <a:effectLst/>
                <a:latin typeface="Segoe UI Semibold" panose="020B0702040204020203" pitchFamily="34" charset="0"/>
                <a:cs typeface="Segoe UI Semibold" panose="020B0702040204020203" pitchFamily="34" charset="0"/>
              </a:rPr>
              <a:t> authentication in Gateway support with Standard license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Rate limiting support for Citrix Gateway</a:t>
            </a:r>
          </a:p>
          <a:p>
            <a:pPr lvl="1">
              <a:lnSpc>
                <a:spcPct val="150000"/>
              </a:lnSpc>
            </a:pPr>
            <a:r>
              <a:rPr lang="en-US" sz="1600" dirty="0" err="1">
                <a:latin typeface="Segoe UI Semibold" panose="020B0702040204020203" pitchFamily="34" charset="0"/>
                <a:cs typeface="Segoe UI Semibold" panose="020B0702040204020203" pitchFamily="34" charset="0"/>
              </a:rPr>
              <a:t>AlwaysON</a:t>
            </a: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VPN before logon for Windows 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DX EDT with Gateway Service (Tech Preview)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NetScaler ADC and support for </a:t>
            </a:r>
            <a:r>
              <a:rPr lang="en-US" sz="1600" dirty="0" err="1">
                <a:latin typeface="Segoe UI Semibold" panose="020B0702040204020203" pitchFamily="34" charset="0"/>
                <a:cs typeface="Segoe UI Semibold" panose="020B0702040204020203" pitchFamily="34" charset="0"/>
              </a:rPr>
              <a:t>preboot</a:t>
            </a: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customization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DT MTU Discovery!</a:t>
            </a:r>
          </a:p>
          <a:p>
            <a:pPr lvl="1">
              <a:lnSpc>
                <a:spcPct val="150000"/>
              </a:lnSpc>
            </a:pPr>
            <a:endParaRPr lang="en-US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400" b="0" i="0" dirty="0">
              <a:effectLst/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050" name="Picture 2" descr="Windows credential manager screen">
            <a:extLst>
              <a:ext uri="{FF2B5EF4-FFF2-40B4-BE49-F238E27FC236}">
                <a16:creationId xmlns:a16="http://schemas.microsoft.com/office/drawing/2014/main" id="{1158794C-3946-432D-9770-C832131429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6840" y="1134975"/>
            <a:ext cx="3620734" cy="271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1D84613-E6F9-474C-ADF6-0D99991E4244}"/>
              </a:ext>
            </a:extLst>
          </p:cNvPr>
          <p:cNvSpPr txBox="1"/>
          <p:nvPr/>
        </p:nvSpPr>
        <p:spPr>
          <a:xfrm>
            <a:off x="8651182" y="790693"/>
            <a:ext cx="34494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dirty="0"/>
              <a:t>AlwaysON VPN</a:t>
            </a:r>
            <a:endParaRPr lang="en-US" b="1" dirty="0"/>
          </a:p>
        </p:txBody>
      </p:sp>
      <p:pic>
        <p:nvPicPr>
          <p:cNvPr id="2052" name="Picture 4" descr="ADC Configurations">
            <a:extLst>
              <a:ext uri="{FF2B5EF4-FFF2-40B4-BE49-F238E27FC236}">
                <a16:creationId xmlns:a16="http://schemas.microsoft.com/office/drawing/2014/main" id="{D3890D58-9349-4242-8196-888F309346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7630" y="4334230"/>
            <a:ext cx="3665144" cy="1992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173534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763103" y="520804"/>
            <a:ext cx="10521424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New browser updates – Yes that is important!</a:t>
            </a:r>
          </a:p>
        </p:txBody>
      </p:sp>
      <p:pic>
        <p:nvPicPr>
          <p:cNvPr id="4" name="Picture 4" descr="animation showing Password Monitor in Microsoft Edge">
            <a:extLst>
              <a:ext uri="{FF2B5EF4-FFF2-40B4-BE49-F238E27FC236}">
                <a16:creationId xmlns:a16="http://schemas.microsoft.com/office/drawing/2014/main" id="{07DD7B68-2A8B-4C2D-A580-2CF777B2B19D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9713" y="1293205"/>
            <a:ext cx="4334814" cy="2853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94FDAE3-8B1A-40FA-A5EC-52EF2C662DCE}"/>
              </a:ext>
            </a:extLst>
          </p:cNvPr>
          <p:cNvSpPr txBox="1">
            <a:spLocks/>
          </p:cNvSpPr>
          <p:nvPr/>
        </p:nvSpPr>
        <p:spPr>
          <a:xfrm>
            <a:off x="493893" y="1160025"/>
            <a:ext cx="6953737" cy="516638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2200" kern="1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145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Tahoma" panose="020B0604030504040204" pitchFamily="34" charset="0"/>
              <a:buChar char="​"/>
              <a:defRPr sz="2200" kern="1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79000"/>
              </a:lnSpc>
              <a:spcBef>
                <a:spcPts val="2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b="1" kern="1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-5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111125" indent="-111125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Calibri Light" panose="020F0302020204030204" pitchFamily="34" charset="0"/>
              <a:buChar char="“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30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spcAft>
                <a:spcPts val="1000"/>
              </a:spcAft>
              <a:buFont typeface="Tahoma" panose="020B0604030504040204" pitchFamily="34" charset="0"/>
              <a:buChar char="​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Password Monitor (Monitor for leaked passwords) </a:t>
            </a:r>
          </a:p>
          <a:p>
            <a:pPr lvl="1">
              <a:lnSpc>
                <a:spcPct val="150000"/>
              </a:lnSpc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leeping Tabs  (Reduce CPU/Memory of inactive tabs)</a:t>
            </a:r>
          </a:p>
          <a:p>
            <a:pPr lvl="1">
              <a:lnSpc>
                <a:spcPct val="150000"/>
              </a:lnSpc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tartup Boost (launch browser in background with sign-in)</a:t>
            </a:r>
          </a:p>
          <a:p>
            <a:pPr lvl="1">
              <a:lnSpc>
                <a:spcPct val="150000"/>
              </a:lnSpc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pplication Guard (Start pages in isolated VM containers)</a:t>
            </a:r>
          </a:p>
          <a:p>
            <a:pPr lvl="1">
              <a:lnSpc>
                <a:spcPct val="150000"/>
              </a:lnSpc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upport for DNS-over-HTTPS (configured via policy)</a:t>
            </a:r>
          </a:p>
          <a:p>
            <a:pPr lvl="1">
              <a:lnSpc>
                <a:spcPct val="150000"/>
              </a:lnSpc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ecurity baseline for Edge/Chromium </a:t>
            </a:r>
          </a:p>
          <a:p>
            <a:pPr lvl="2">
              <a:lnSpc>
                <a:spcPct val="150000"/>
              </a:lnSpc>
            </a:pPr>
            <a:r>
              <a:rPr lang="en-US" sz="1600" dirty="0">
                <a:hlinkClick r:id="rId6"/>
              </a:rPr>
              <a:t>Security baseline for Chromium-based Microsoft Edge</a:t>
            </a:r>
            <a:endParaRPr lang="en-US" sz="1600" dirty="0"/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Disable IE 11 option now part of Group Policy ! Yay, </a:t>
            </a:r>
            <a:r>
              <a:rPr lang="en-US" sz="1600" dirty="0" err="1">
                <a:latin typeface="Segoe UI Semibold" panose="020B0702040204020203" pitchFamily="34" charset="0"/>
                <a:cs typeface="Segoe UI Semibold" panose="020B0702040204020203" pitchFamily="34" charset="0"/>
              </a:rPr>
              <a:t>byebye</a:t>
            </a: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8AE67E8-83DF-4CF8-9618-2DF4E4772DE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39107" y="4280149"/>
            <a:ext cx="2426971" cy="214960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919DE0E-34CD-4D19-8719-04B4F6D0BF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58532" y="4919082"/>
            <a:ext cx="3470351" cy="1407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919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763103" y="520804"/>
            <a:ext cx="10521424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What’s new from Microsoft Ignite EUC view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9942B62-77E6-4A6B-8778-BEDB3B093C46}"/>
              </a:ext>
            </a:extLst>
          </p:cNvPr>
          <p:cNvSpPr txBox="1">
            <a:spLocks/>
          </p:cNvSpPr>
          <p:nvPr/>
        </p:nvSpPr>
        <p:spPr>
          <a:xfrm>
            <a:off x="493893" y="1160025"/>
            <a:ext cx="6953737" cy="516638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2200" kern="1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145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Tahoma" panose="020B0604030504040204" pitchFamily="34" charset="0"/>
              <a:buChar char="​"/>
              <a:defRPr sz="2200" kern="1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79000"/>
              </a:lnSpc>
              <a:spcBef>
                <a:spcPts val="2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b="1" kern="1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-5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111125" indent="-111125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Calibri Light" panose="020F0302020204030204" pitchFamily="34" charset="0"/>
              <a:buChar char="“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30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spcAft>
                <a:spcPts val="1000"/>
              </a:spcAft>
              <a:buFont typeface="Tahoma" panose="020B0604030504040204" pitchFamily="34" charset="0"/>
              <a:buChar char="​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zure Resource Mover (GA)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zure Automate RPA – Free for Windows 10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Universal Print GA</a:t>
            </a:r>
          </a:p>
          <a:p>
            <a:pPr lvl="2">
              <a:lnSpc>
                <a:spcPct val="150000"/>
              </a:lnSpc>
            </a:pP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upport from Windows and from OneDrive for Business App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ttack Simulation Training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zure Sentinel and Azure Defender integration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zure Route Server (Preview)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Notification / Approval tasks in Microsoft Teams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Power Automate and Microsoft Teams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nd some VR stuff that I didn’t quite catch up on..</a:t>
            </a:r>
          </a:p>
          <a:p>
            <a:pPr lvl="1">
              <a:lnSpc>
                <a:spcPct val="150000"/>
              </a:lnSpc>
            </a:pPr>
            <a:endParaRPr lang="en-US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ll the news here </a:t>
            </a: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  <a:sym typeface="Wingdings" panose="05000000000000000000" pitchFamily="2" charset="2"/>
              </a:rPr>
              <a:t> </a:t>
            </a:r>
            <a:r>
              <a:rPr lang="en-US" sz="1600" dirty="0">
                <a:hlinkClick r:id="rId5"/>
              </a:rPr>
              <a:t>Microsoft Ignite 2021 Book of News</a:t>
            </a:r>
            <a:endParaRPr lang="en-US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400" b="0" i="0" dirty="0">
              <a:effectLst/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5122" name="Picture 2" descr="Diagram showing Azure Route Server configured in a virtual network.">
            <a:extLst>
              <a:ext uri="{FF2B5EF4-FFF2-40B4-BE49-F238E27FC236}">
                <a16:creationId xmlns:a16="http://schemas.microsoft.com/office/drawing/2014/main" id="{CFA38A78-1990-400A-B59D-B3E87E4795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7224" y="1557146"/>
            <a:ext cx="4751673" cy="4372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05981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763103" y="520804"/>
            <a:ext cx="10521424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The next iteration of WVD  – CloudPC?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06D2FA9-F82C-4117-AC32-9FDDB642D849}"/>
              </a:ext>
            </a:extLst>
          </p:cNvPr>
          <p:cNvSpPr txBox="1">
            <a:spLocks/>
          </p:cNvSpPr>
          <p:nvPr/>
        </p:nvSpPr>
        <p:spPr>
          <a:xfrm>
            <a:off x="493893" y="1355834"/>
            <a:ext cx="6953737" cy="4970579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2200" kern="1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145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Tahoma" panose="020B0604030504040204" pitchFamily="34" charset="0"/>
              <a:buChar char="​"/>
              <a:defRPr sz="2200" kern="1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79000"/>
              </a:lnSpc>
              <a:spcBef>
                <a:spcPts val="2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b="1" kern="1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-5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111125" indent="-111125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Calibri Light" panose="020F0302020204030204" pitchFamily="34" charset="0"/>
              <a:buChar char="“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30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spcAft>
                <a:spcPts val="1000"/>
              </a:spcAft>
              <a:buFont typeface="Tahoma" panose="020B0604030504040204" pitchFamily="34" charset="0"/>
              <a:buChar char="​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VD has a shared responsibility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loud PC might be Microsoft first Managed </a:t>
            </a:r>
            <a:r>
              <a:rPr lang="en-US" sz="1600" dirty="0" err="1">
                <a:latin typeface="Segoe UI Semibold" panose="020B0702040204020203" pitchFamily="34" charset="0"/>
                <a:cs typeface="Segoe UI Semibold" panose="020B0702040204020203" pitchFamily="34" charset="0"/>
              </a:rPr>
              <a:t>DaaS</a:t>
            </a:r>
            <a:endParaRPr lang="en-US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indows 10 only service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ould likely be a service offered as part of Microsoft 365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Different SKU’s</a:t>
            </a:r>
          </a:p>
          <a:p>
            <a:pPr lvl="2">
              <a:lnSpc>
                <a:spcPct val="150000"/>
              </a:lnSpc>
            </a:pP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Light, Medium, High-end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e just define Windows 10 image and network connection</a:t>
            </a:r>
          </a:p>
          <a:p>
            <a:pPr lvl="2">
              <a:lnSpc>
                <a:spcPct val="150000"/>
              </a:lnSpc>
            </a:pP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Gallery image or custom image</a:t>
            </a:r>
          </a:p>
          <a:p>
            <a:pPr lvl="1">
              <a:lnSpc>
                <a:spcPct val="150000"/>
              </a:lnSpc>
            </a:pP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No direct statement from Microsoft yet, unconfirmed sources</a:t>
            </a:r>
          </a:p>
          <a:p>
            <a:pPr lvl="2">
              <a:lnSpc>
                <a:spcPct val="150000"/>
              </a:lnSpc>
            </a:pPr>
            <a:r>
              <a:rPr lang="en-US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till the updated to Microsoft 365 API suggests that they are in progress</a:t>
            </a:r>
          </a:p>
          <a:p>
            <a:pPr lvl="2">
              <a:lnSpc>
                <a:spcPct val="150000"/>
              </a:lnSpc>
            </a:pPr>
            <a:r>
              <a:rPr lang="en-US" sz="1400" dirty="0" err="1">
                <a:hlinkClick r:id="rId5"/>
              </a:rPr>
              <a:t>virtualEndpoint</a:t>
            </a:r>
            <a:r>
              <a:rPr lang="en-US" sz="1400" dirty="0">
                <a:hlinkClick r:id="rId5"/>
              </a:rPr>
              <a:t> resource type - Microsoft Graph beta | Microsoft Docs</a:t>
            </a:r>
            <a:endParaRPr lang="en-US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en-US" sz="1400" b="0" i="0" dirty="0">
              <a:effectLst/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8194" name="Picture 2" descr="Enhancing Windows Virtual Desktop">
            <a:extLst>
              <a:ext uri="{FF2B5EF4-FFF2-40B4-BE49-F238E27FC236}">
                <a16:creationId xmlns:a16="http://schemas.microsoft.com/office/drawing/2014/main" id="{63E1F654-E70C-4E4A-AFAD-87BC8FB022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8102" y="1726777"/>
            <a:ext cx="4791075" cy="43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>
            <a:extLst>
              <a:ext uri="{FF2B5EF4-FFF2-40B4-BE49-F238E27FC236}">
                <a16:creationId xmlns:a16="http://schemas.microsoft.com/office/drawing/2014/main" id="{136D1242-80B0-41D5-B79F-D411F9F0D5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540" y="1514154"/>
            <a:ext cx="5025287" cy="4594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0259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644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91C7EAB2-208B-C64F-9938-FDCB2A5E7839}"/>
              </a:ext>
            </a:extLst>
          </p:cNvPr>
          <p:cNvSpPr/>
          <p:nvPr/>
        </p:nvSpPr>
        <p:spPr>
          <a:xfrm>
            <a:off x="1498439" y="1925737"/>
            <a:ext cx="2384385" cy="233808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pic>
        <p:nvPicPr>
          <p:cNvPr id="4" name="Graphic 3" descr="Video camera">
            <a:extLst>
              <a:ext uri="{FF2B5EF4-FFF2-40B4-BE49-F238E27FC236}">
                <a16:creationId xmlns:a16="http://schemas.microsoft.com/office/drawing/2014/main" id="{A1CF7AD3-26B2-7944-A910-97DFC85672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52431" y="2224267"/>
            <a:ext cx="1741026" cy="1741026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6FC4B896-FF51-014E-BA2F-C74F14EBF2FE}"/>
              </a:ext>
            </a:extLst>
          </p:cNvPr>
          <p:cNvSpPr/>
          <p:nvPr/>
        </p:nvSpPr>
        <p:spPr>
          <a:xfrm>
            <a:off x="4990618" y="1925737"/>
            <a:ext cx="2384385" cy="233808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pic>
        <p:nvPicPr>
          <p:cNvPr id="9" name="Graphic 8" descr="Speech">
            <a:extLst>
              <a:ext uri="{FF2B5EF4-FFF2-40B4-BE49-F238E27FC236}">
                <a16:creationId xmlns:a16="http://schemas.microsoft.com/office/drawing/2014/main" id="{174D0BCC-1AC9-894F-AF33-C3AF9CD008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5145911" y="2047754"/>
            <a:ext cx="2094053" cy="2094053"/>
          </a:xfrm>
          <a:prstGeom prst="rect">
            <a:avLst/>
          </a:prstGeom>
        </p:spPr>
      </p:pic>
      <p:pic>
        <p:nvPicPr>
          <p:cNvPr id="7" name="Graphic 6" descr="Question mark">
            <a:extLst>
              <a:ext uri="{FF2B5EF4-FFF2-40B4-BE49-F238E27FC236}">
                <a16:creationId xmlns:a16="http://schemas.microsoft.com/office/drawing/2014/main" id="{6ED649DA-DE7C-4047-8759-3D82249D1C5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25610" y="2495790"/>
            <a:ext cx="914400" cy="914400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FB679CEF-6FCF-B647-9B65-0010028B4C5B}"/>
              </a:ext>
            </a:extLst>
          </p:cNvPr>
          <p:cNvSpPr/>
          <p:nvPr/>
        </p:nvSpPr>
        <p:spPr>
          <a:xfrm>
            <a:off x="8430228" y="1925737"/>
            <a:ext cx="2384385" cy="233808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01898D3-03AB-C54C-8D5C-4FB2556E00CE}"/>
              </a:ext>
            </a:extLst>
          </p:cNvPr>
          <p:cNvSpPr txBox="1"/>
          <p:nvPr/>
        </p:nvSpPr>
        <p:spPr>
          <a:xfrm>
            <a:off x="1498438" y="4493388"/>
            <a:ext cx="23843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You will receive a link to today’s recording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70AA2CD-569E-F740-BB34-116DC6378F8F}"/>
              </a:ext>
            </a:extLst>
          </p:cNvPr>
          <p:cNvSpPr txBox="1"/>
          <p:nvPr/>
        </p:nvSpPr>
        <p:spPr>
          <a:xfrm>
            <a:off x="4896572" y="4493388"/>
            <a:ext cx="26153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Submit your questions in the chat anytime! We’ll take them at the en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23C07-A041-C441-802C-3DAB669136EF}"/>
              </a:ext>
            </a:extLst>
          </p:cNvPr>
          <p:cNvSpPr txBox="1"/>
          <p:nvPr/>
        </p:nvSpPr>
        <p:spPr>
          <a:xfrm>
            <a:off x="8262074" y="4516376"/>
            <a:ext cx="2763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Please fill out our survey!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600A367-6B83-1A4C-976F-E693C2B671E8}"/>
              </a:ext>
            </a:extLst>
          </p:cNvPr>
          <p:cNvSpPr txBox="1"/>
          <p:nvPr/>
        </p:nvSpPr>
        <p:spPr>
          <a:xfrm>
            <a:off x="3929926" y="248559"/>
            <a:ext cx="433214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Before we get starte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D69F109-16CE-454F-8DB2-B58E64A031A3}"/>
              </a:ext>
            </a:extLst>
          </p:cNvPr>
          <p:cNvSpPr/>
          <p:nvPr/>
        </p:nvSpPr>
        <p:spPr>
          <a:xfrm>
            <a:off x="10505872" y="6005209"/>
            <a:ext cx="1459149" cy="791182"/>
          </a:xfrm>
          <a:prstGeom prst="rect">
            <a:avLst/>
          </a:prstGeom>
          <a:solidFill>
            <a:srgbClr val="064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pic>
        <p:nvPicPr>
          <p:cNvPr id="18" name="Picture 17" descr="Logo, company name&#10;&#10;Description automatically generated">
            <a:extLst>
              <a:ext uri="{FF2B5EF4-FFF2-40B4-BE49-F238E27FC236}">
                <a16:creationId xmlns:a16="http://schemas.microsoft.com/office/drawing/2014/main" id="{CBDA97D8-2741-3045-9AF6-6399DED5D39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689532" y="6385013"/>
            <a:ext cx="1072323" cy="40212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AEE7C55D-D330-334D-9D60-2CBC596F18F9}"/>
              </a:ext>
            </a:extLst>
          </p:cNvPr>
          <p:cNvSpPr txBox="1"/>
          <p:nvPr/>
        </p:nvSpPr>
        <p:spPr>
          <a:xfrm>
            <a:off x="9225759" y="6385013"/>
            <a:ext cx="12546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#</a:t>
            </a:r>
            <a:r>
              <a:rPr lang="en-US" sz="2000" dirty="0" err="1">
                <a:solidFill>
                  <a:schemeClr val="bg1"/>
                </a:solidFill>
              </a:rPr>
              <a:t>myCUGC</a:t>
            </a:r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20" name="Graphic 19" descr="Checklist">
            <a:extLst>
              <a:ext uri="{FF2B5EF4-FFF2-40B4-BE49-F238E27FC236}">
                <a16:creationId xmlns:a16="http://schemas.microsoft.com/office/drawing/2014/main" id="{65739A30-0979-BA4B-9EC6-2E1E51ABB63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859455" y="2269175"/>
            <a:ext cx="1525929" cy="1525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05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763103" y="520804"/>
            <a:ext cx="10521424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Other Windows + M365 related updat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06D2FA9-F82C-4117-AC32-9FDDB642D849}"/>
              </a:ext>
            </a:extLst>
          </p:cNvPr>
          <p:cNvSpPr txBox="1">
            <a:spLocks/>
          </p:cNvSpPr>
          <p:nvPr/>
        </p:nvSpPr>
        <p:spPr>
          <a:xfrm>
            <a:off x="493893" y="1355834"/>
            <a:ext cx="6953737" cy="497057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2200" kern="1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145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Font typeface="Tahoma" panose="020B0604030504040204" pitchFamily="34" charset="0"/>
              <a:buChar char="​"/>
              <a:defRPr sz="2200" kern="1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79000"/>
              </a:lnSpc>
              <a:spcBef>
                <a:spcPts val="2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b="1" kern="1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Font typeface="Tahoma" panose="020B0604030504040204" pitchFamily="34" charset="0"/>
              <a:buChar char="​"/>
              <a:defRPr sz="14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-5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111125" indent="-111125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Calibri Light" panose="020F0302020204030204" pitchFamily="34" charset="0"/>
              <a:buChar char="“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300" indent="0" algn="l" defTabSz="914400" rtl="0" eaLnBrk="1" latinLnBrk="0" hangingPunct="1">
              <a:lnSpc>
                <a:spcPct val="85000"/>
              </a:lnSpc>
              <a:spcBef>
                <a:spcPts val="200"/>
              </a:spcBef>
              <a:spcAft>
                <a:spcPts val="1000"/>
              </a:spcAft>
              <a:buFont typeface="Tahoma" panose="020B0604030504040204" pitchFamily="34" charset="0"/>
              <a:buChar char="​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icrosoft Teams VDI 2x2 Update (Part of Teams Preview Ring)</a:t>
            </a:r>
          </a:p>
          <a:p>
            <a:pPr lvl="1">
              <a:lnSpc>
                <a:spcPct val="150000"/>
              </a:lnSpc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New Group Policy settings to exclude specific files to get synced</a:t>
            </a:r>
          </a:p>
          <a:p>
            <a:pPr lvl="1">
              <a:lnSpc>
                <a:spcPct val="150000"/>
              </a:lnSpc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icrosoft 365 Multi Geo options with Satellite Zones</a:t>
            </a:r>
          </a:p>
          <a:p>
            <a:pPr lvl="1">
              <a:lnSpc>
                <a:spcPct val="150000"/>
              </a:lnSpc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Network Connectivity check in Admin Center (SD-WAN)</a:t>
            </a:r>
          </a:p>
          <a:p>
            <a:pPr lvl="1">
              <a:lnSpc>
                <a:spcPct val="150000"/>
              </a:lnSpc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SIX Supports NT Services (Windows 2004)</a:t>
            </a:r>
          </a:p>
          <a:p>
            <a:pPr lvl="2">
              <a:lnSpc>
                <a:spcPct val="150000"/>
              </a:lnSpc>
            </a:pPr>
            <a:r>
              <a:rPr lang="nb-NO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Batch Coversion of App-V to MSIX </a:t>
            </a:r>
            <a:r>
              <a:rPr lang="en-US" sz="1600" dirty="0">
                <a:hlinkClick r:id="rId5"/>
              </a:rPr>
              <a:t>MSIX – Batch Conversion App-V 5</a:t>
            </a:r>
            <a:endParaRPr lang="nb-NO" sz="1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lvl="1">
              <a:lnSpc>
                <a:spcPct val="150000"/>
              </a:lnSpc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9218" name="Picture 2" descr="thumbnail image 1 captioned Network connectivity page in the Microsoft 365 Admin Center">
            <a:extLst>
              <a:ext uri="{FF2B5EF4-FFF2-40B4-BE49-F238E27FC236}">
                <a16:creationId xmlns:a16="http://schemas.microsoft.com/office/drawing/2014/main" id="{CC8A1830-58A4-4505-8136-A18D259CE8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933" y="2457319"/>
            <a:ext cx="5133036" cy="3044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07305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763103" y="520804"/>
            <a:ext cx="10521424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Other great community work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00CAE63-896C-4E36-9ACC-C2C48706F7CC}"/>
              </a:ext>
            </a:extLst>
          </p:cNvPr>
          <p:cNvSpPr txBox="1"/>
          <p:nvPr/>
        </p:nvSpPr>
        <p:spPr>
          <a:xfrm>
            <a:off x="6784858" y="5204755"/>
            <a:ext cx="609494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0" i="0" u="sng" dirty="0">
                <a:solidFill>
                  <a:srgbClr val="1B95E0"/>
                </a:solidFill>
                <a:effectLst/>
                <a:latin typeface="-apple-system"/>
                <a:hlinkClick r:id="rId5"/>
              </a:rPr>
              <a:t>vdilikeapro.com/survey2021</a:t>
            </a:r>
            <a:endParaRPr lang="en-US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FB2B673-1B7A-465B-BF3D-E3815F533B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42257" y="1385095"/>
            <a:ext cx="5986640" cy="3730174"/>
          </a:xfrm>
          <a:prstGeom prst="rect">
            <a:avLst/>
          </a:prstGeom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D070CB5C-6E2A-407E-A2F6-142780F473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7354" y="2846039"/>
            <a:ext cx="2015836" cy="2015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A555746-7D62-4126-A62B-76810F46DD86}"/>
              </a:ext>
            </a:extLst>
          </p:cNvPr>
          <p:cNvSpPr/>
          <p:nvPr/>
        </p:nvSpPr>
        <p:spPr>
          <a:xfrm>
            <a:off x="1279782" y="5204755"/>
            <a:ext cx="2594556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hlinkClick r:id="rId8"/>
              </a:rPr>
              <a:t>https://go-euc.com</a:t>
            </a:r>
            <a:endParaRPr lang="en-US" sz="24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55342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763103" y="520804"/>
            <a:ext cx="10521424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Where are we moving?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9606C1A-FF26-4282-81C0-3FEAD7B9E5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13434" y="1778995"/>
            <a:ext cx="6884342" cy="307778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32369FF-84DF-4B35-8F11-404046A32D26}"/>
              </a:ext>
            </a:extLst>
          </p:cNvPr>
          <p:cNvSpPr txBox="1"/>
          <p:nvPr/>
        </p:nvSpPr>
        <p:spPr>
          <a:xfrm>
            <a:off x="863950" y="1330609"/>
            <a:ext cx="3972911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ost customers moving a cloud based ecosystem (SaaS/PaaS/Iaa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ore complex ecosystem, higher security ris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Vendors moving to a Zero-Trust based archite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ASE part of foundation delivered as Cloud Services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implifying SaaS based actions with virtual assistants and workflow auto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Vendors moving further up becoming an integral part of the end-user experience not just providing ap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CA963B-A2FE-4AFC-8B21-50134F5A8149}"/>
              </a:ext>
            </a:extLst>
          </p:cNvPr>
          <p:cNvSpPr txBox="1"/>
          <p:nvPr/>
        </p:nvSpPr>
        <p:spPr>
          <a:xfrm>
            <a:off x="6381882" y="4818832"/>
            <a:ext cx="4946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i="1" dirty="0"/>
              <a:t>End-User Delivery and Security platform (EUDASP?)™</a:t>
            </a:r>
            <a:endParaRPr lang="en-US" b="1" i="1" dirty="0"/>
          </a:p>
        </p:txBody>
      </p:sp>
    </p:spTree>
    <p:extLst>
      <p:ext uri="{BB962C8B-B14F-4D97-AF65-F5344CB8AC3E}">
        <p14:creationId xmlns:p14="http://schemas.microsoft.com/office/powerpoint/2010/main" val="108156321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763103" y="520804"/>
            <a:ext cx="10521424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Is all this new technology making it easier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1833BEE-77A3-43FA-BD3A-2B137A1FC8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4846" y="1293361"/>
            <a:ext cx="2145280" cy="495684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474F927-7A69-48A3-A57E-789FCA8C750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35617" y="2223690"/>
            <a:ext cx="3818109" cy="4026513"/>
          </a:xfrm>
          <a:prstGeom prst="rect">
            <a:avLst/>
          </a:prstGeom>
        </p:spPr>
      </p:pic>
      <p:pic>
        <p:nvPicPr>
          <p:cNvPr id="13314" name="Picture 2" descr="Locate &amp; use apps on the My Apps portal - Azure AD | Microsoft Docs">
            <a:extLst>
              <a:ext uri="{FF2B5EF4-FFF2-40B4-BE49-F238E27FC236}">
                <a16:creationId xmlns:a16="http://schemas.microsoft.com/office/drawing/2014/main" id="{4E1D3BE8-D0B4-41E6-84DE-E5799F3082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4106" y="4038213"/>
            <a:ext cx="3818109" cy="2225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 descr="Workspace app with StoreFront – Ask the Architect">
            <a:extLst>
              <a:ext uri="{FF2B5EF4-FFF2-40B4-BE49-F238E27FC236}">
                <a16:creationId xmlns:a16="http://schemas.microsoft.com/office/drawing/2014/main" id="{53ADC39B-0A81-40DE-B9EB-78229F7666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6798" y="1276132"/>
            <a:ext cx="3657729" cy="3083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953BD24-4F4D-4AFE-A858-C5F8ED46F1B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02235" y="1276132"/>
            <a:ext cx="3007864" cy="2637031"/>
          </a:xfrm>
          <a:prstGeom prst="rect">
            <a:avLst/>
          </a:prstGeom>
        </p:spPr>
      </p:pic>
      <p:pic>
        <p:nvPicPr>
          <p:cNvPr id="13320" name="Picture 8">
            <a:extLst>
              <a:ext uri="{FF2B5EF4-FFF2-40B4-BE49-F238E27FC236}">
                <a16:creationId xmlns:a16="http://schemas.microsoft.com/office/drawing/2014/main" id="{224C079F-C095-4AF8-9032-EA94FE7847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2858" y="3850192"/>
            <a:ext cx="3427347" cy="2306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497136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763103" y="520804"/>
            <a:ext cx="10521424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Something also to remember</a:t>
            </a:r>
          </a:p>
        </p:txBody>
      </p:sp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F8F6CD7D-6172-47CC-BC30-B811BA8DA0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6341" y="1461137"/>
            <a:ext cx="9135605" cy="4876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E00B188-3074-45FD-AB5C-030895A0587C}"/>
              </a:ext>
            </a:extLst>
          </p:cNvPr>
          <p:cNvSpPr txBox="1"/>
          <p:nvPr/>
        </p:nvSpPr>
        <p:spPr>
          <a:xfrm>
            <a:off x="426564" y="1436726"/>
            <a:ext cx="60944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6"/>
              </a:rPr>
              <a:t>https://t.co/qDkIXst3tM?amp=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1817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644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64423C07-A041-C441-802C-3DAB669136EF}"/>
              </a:ext>
            </a:extLst>
          </p:cNvPr>
          <p:cNvSpPr txBox="1"/>
          <p:nvPr/>
        </p:nvSpPr>
        <p:spPr>
          <a:xfrm>
            <a:off x="8420519" y="6400402"/>
            <a:ext cx="2136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>
                <a:solidFill>
                  <a:schemeClr val="bg1"/>
                </a:solidFill>
              </a:rPr>
              <a:t>www.mycugc.or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600A367-6B83-1A4C-976F-E693C2B671E8}"/>
              </a:ext>
            </a:extLst>
          </p:cNvPr>
          <p:cNvSpPr txBox="1"/>
          <p:nvPr/>
        </p:nvSpPr>
        <p:spPr>
          <a:xfrm>
            <a:off x="1311952" y="1220484"/>
            <a:ext cx="390042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dirty="0">
                <a:solidFill>
                  <a:schemeClr val="bg1"/>
                </a:solidFill>
                <a:latin typeface="Avenir Book" panose="02000503020000020003" pitchFamily="2" charset="0"/>
              </a:rPr>
              <a:t>THANK YOU!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D69F109-16CE-454F-8DB2-B58E64A031A3}"/>
              </a:ext>
            </a:extLst>
          </p:cNvPr>
          <p:cNvSpPr/>
          <p:nvPr/>
        </p:nvSpPr>
        <p:spPr>
          <a:xfrm>
            <a:off x="10505872" y="6005209"/>
            <a:ext cx="1459149" cy="791182"/>
          </a:xfrm>
          <a:prstGeom prst="rect">
            <a:avLst/>
          </a:prstGeom>
          <a:solidFill>
            <a:srgbClr val="064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pic>
        <p:nvPicPr>
          <p:cNvPr id="18" name="Picture 17" descr="Logo, company name&#10;&#10;Description automatically generated">
            <a:extLst>
              <a:ext uri="{FF2B5EF4-FFF2-40B4-BE49-F238E27FC236}">
                <a16:creationId xmlns:a16="http://schemas.microsoft.com/office/drawing/2014/main" id="{CBDA97D8-2741-3045-9AF6-6399DED5D3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6216" y="4360802"/>
            <a:ext cx="3033749" cy="113765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AEE7C55D-D330-334D-9D60-2CBC596F18F9}"/>
              </a:ext>
            </a:extLst>
          </p:cNvPr>
          <p:cNvSpPr txBox="1"/>
          <p:nvPr/>
        </p:nvSpPr>
        <p:spPr>
          <a:xfrm>
            <a:off x="10608116" y="6369624"/>
            <a:ext cx="12546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#</a:t>
            </a:r>
            <a:r>
              <a:rPr lang="en-US" sz="2000" dirty="0" err="1">
                <a:solidFill>
                  <a:schemeClr val="bg1"/>
                </a:solidFill>
              </a:rPr>
              <a:t>myCUGC</a:t>
            </a:r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6" name="Graphic 5" descr="Clapping hands with solid fill">
            <a:extLst>
              <a:ext uri="{FF2B5EF4-FFF2-40B4-BE49-F238E27FC236}">
                <a16:creationId xmlns:a16="http://schemas.microsoft.com/office/drawing/2014/main" id="{D9E90A11-3E38-1E45-9F16-962649953D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155174" y="2051481"/>
            <a:ext cx="1905000" cy="1905000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AB68D7D-BC39-3C42-BD7E-A0261F42156A}"/>
              </a:ext>
            </a:extLst>
          </p:cNvPr>
          <p:cNvCxnSpPr/>
          <p:nvPr/>
        </p:nvCxnSpPr>
        <p:spPr>
          <a:xfrm>
            <a:off x="6426200" y="927455"/>
            <a:ext cx="0" cy="5196376"/>
          </a:xfrm>
          <a:prstGeom prst="line">
            <a:avLst/>
          </a:prstGeom>
          <a:ln w="44450" cap="rnd">
            <a:solidFill>
              <a:srgbClr val="31629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200565AF-AB82-7041-BB63-4C8DC6EA617F}"/>
              </a:ext>
            </a:extLst>
          </p:cNvPr>
          <p:cNvSpPr txBox="1"/>
          <p:nvPr/>
        </p:nvSpPr>
        <p:spPr>
          <a:xfrm>
            <a:off x="6171779" y="4974604"/>
            <a:ext cx="48573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  <a:latin typeface="Avenir Book" panose="02000503020000020003" pitchFamily="2" charset="0"/>
              </a:rPr>
              <a:t>Follow @</a:t>
            </a:r>
            <a:r>
              <a:rPr lang="en-US" sz="4000" dirty="0" err="1">
                <a:solidFill>
                  <a:schemeClr val="bg1"/>
                </a:solidFill>
                <a:latin typeface="Avenir Book" panose="02000503020000020003" pitchFamily="2" charset="0"/>
              </a:rPr>
              <a:t>myCUGC</a:t>
            </a:r>
            <a:r>
              <a:rPr lang="en-US" sz="4000" dirty="0">
                <a:solidFill>
                  <a:schemeClr val="bg1"/>
                </a:solidFill>
                <a:latin typeface="Avenir Book" panose="02000503020000020003" pitchFamily="2" charset="0"/>
              </a:rPr>
              <a:t>!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9BE6AF-00F4-447A-8930-E8723F10C060}"/>
              </a:ext>
            </a:extLst>
          </p:cNvPr>
          <p:cNvSpPr txBox="1"/>
          <p:nvPr/>
        </p:nvSpPr>
        <p:spPr>
          <a:xfrm>
            <a:off x="4709965" y="778370"/>
            <a:ext cx="6895542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  <a:latin typeface="Avenir Book" panose="02000503020000020003" pitchFamily="2" charset="0"/>
              </a:rPr>
              <a:t>Other questions?</a:t>
            </a:r>
          </a:p>
          <a:p>
            <a:pPr algn="ctr"/>
            <a:r>
              <a:rPr lang="en-US" sz="4400" dirty="0">
                <a:solidFill>
                  <a:schemeClr val="bg1"/>
                </a:solidFill>
                <a:latin typeface="Avenir Book" panose="02000503020000020003" pitchFamily="2" charset="0"/>
              </a:rPr>
              <a:t>Access PPT Slides </a:t>
            </a:r>
            <a:r>
              <a:rPr lang="en-US" sz="4400" dirty="0">
                <a:solidFill>
                  <a:schemeClr val="bg1"/>
                </a:solidFill>
                <a:latin typeface="Avenir Book" panose="02000503020000020003" pitchFamily="2" charset="0"/>
                <a:sym typeface="Wingdings" panose="05000000000000000000" pitchFamily="2" charset="2"/>
              </a:rPr>
              <a:t></a:t>
            </a:r>
          </a:p>
          <a:p>
            <a:pPr algn="ctr"/>
            <a:r>
              <a:rPr lang="en-US" sz="4400" dirty="0">
                <a:solidFill>
                  <a:schemeClr val="bg1"/>
                </a:solidFill>
                <a:latin typeface="Avenir Book" panose="02000503020000020003" pitchFamily="2" charset="0"/>
              </a:rPr>
              <a:t>github.com/msandbu/</a:t>
            </a:r>
            <a:r>
              <a:rPr lang="en-US" sz="4400" dirty="0" err="1">
                <a:solidFill>
                  <a:schemeClr val="bg1"/>
                </a:solidFill>
                <a:latin typeface="Avenir Book" panose="02000503020000020003" pitchFamily="2" charset="0"/>
              </a:rPr>
              <a:t>mycugc</a:t>
            </a:r>
            <a:r>
              <a:rPr lang="en-US" sz="4400" dirty="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br>
              <a:rPr lang="en-US" sz="4400" dirty="0">
                <a:solidFill>
                  <a:schemeClr val="bg1"/>
                </a:solidFill>
                <a:latin typeface="Avenir Book" panose="02000503020000020003" pitchFamily="2" charset="0"/>
              </a:rPr>
            </a:br>
            <a:endParaRPr lang="en-US" sz="4400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pPr algn="ctr"/>
            <a:r>
              <a:rPr lang="en-US" sz="4400" dirty="0">
                <a:solidFill>
                  <a:schemeClr val="bg1"/>
                </a:solidFill>
                <a:latin typeface="Avenir Book" panose="02000503020000020003" pitchFamily="2" charset="0"/>
              </a:rPr>
              <a:t>@msandbu</a:t>
            </a:r>
          </a:p>
          <a:p>
            <a:pPr algn="ctr"/>
            <a:r>
              <a:rPr lang="en-US" sz="4400" dirty="0">
                <a:solidFill>
                  <a:schemeClr val="bg1"/>
                </a:solidFill>
                <a:latin typeface="Avenir Book" panose="02000503020000020003" pitchFamily="2" charset="0"/>
              </a:rPr>
              <a:t>msandbu@gmail.com</a:t>
            </a:r>
          </a:p>
        </p:txBody>
      </p:sp>
    </p:spTree>
    <p:extLst>
      <p:ext uri="{BB962C8B-B14F-4D97-AF65-F5344CB8AC3E}">
        <p14:creationId xmlns:p14="http://schemas.microsoft.com/office/powerpoint/2010/main" val="165614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644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D6CF249C-39B8-AB44-9C1E-E04363B90125}"/>
              </a:ext>
            </a:extLst>
          </p:cNvPr>
          <p:cNvSpPr txBox="1"/>
          <p:nvPr/>
        </p:nvSpPr>
        <p:spPr>
          <a:xfrm>
            <a:off x="1113597" y="4368306"/>
            <a:ext cx="2654894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Avenir Book" panose="02000503020000020003" pitchFamily="2" charset="0"/>
              </a:rPr>
              <a:t>Marius Sandbu</a:t>
            </a:r>
          </a:p>
          <a:p>
            <a:r>
              <a:rPr lang="en-US" sz="2000" dirty="0">
                <a:solidFill>
                  <a:schemeClr val="bg1"/>
                </a:solidFill>
                <a:latin typeface="Avenir Book" panose="02000503020000020003" pitchFamily="2" charset="0"/>
              </a:rPr>
              <a:t>Guild Lead Public Cloud</a:t>
            </a:r>
            <a:br>
              <a:rPr lang="en-US" sz="2000" dirty="0">
                <a:solidFill>
                  <a:schemeClr val="bg1"/>
                </a:solidFill>
                <a:latin typeface="Avenir Book" panose="02000503020000020003" pitchFamily="2" charset="0"/>
              </a:rPr>
            </a:br>
            <a:r>
              <a:rPr lang="en-US" sz="2000" dirty="0" err="1">
                <a:solidFill>
                  <a:schemeClr val="bg1"/>
                </a:solidFill>
                <a:latin typeface="Avenir Book" panose="02000503020000020003" pitchFamily="2" charset="0"/>
              </a:rPr>
              <a:t>TietoEVRY</a:t>
            </a:r>
            <a:endParaRPr lang="en-US" sz="2000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r>
              <a:rPr lang="en-US" sz="2000" dirty="0">
                <a:solidFill>
                  <a:schemeClr val="bg1"/>
                </a:solidFill>
                <a:latin typeface="Avenir Book" panose="02000503020000020003" pitchFamily="2" charset="0"/>
              </a:rPr>
              <a:t>@msandbu</a:t>
            </a:r>
          </a:p>
          <a:p>
            <a:r>
              <a:rPr lang="en-US" sz="2000" dirty="0">
                <a:solidFill>
                  <a:schemeClr val="bg1"/>
                </a:solidFill>
                <a:latin typeface="Avenir Book" panose="02000503020000020003" pitchFamily="2" charset="0"/>
              </a:rPr>
              <a:t>msandbu.org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9A8AA9-3DD5-E94A-AFF7-2E6549A8075B}"/>
              </a:ext>
            </a:extLst>
          </p:cNvPr>
          <p:cNvSpPr/>
          <p:nvPr/>
        </p:nvSpPr>
        <p:spPr>
          <a:xfrm>
            <a:off x="10505872" y="6005209"/>
            <a:ext cx="1459149" cy="791182"/>
          </a:xfrm>
          <a:prstGeom prst="rect">
            <a:avLst/>
          </a:prstGeom>
          <a:solidFill>
            <a:srgbClr val="064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pic>
        <p:nvPicPr>
          <p:cNvPr id="20" name="Picture 19" descr="Logo, company name&#10;&#10;Description automatically generated">
            <a:extLst>
              <a:ext uri="{FF2B5EF4-FFF2-40B4-BE49-F238E27FC236}">
                <a16:creationId xmlns:a16="http://schemas.microsoft.com/office/drawing/2014/main" id="{4E7FF0C4-36A7-5F4C-A3DC-6749EAE9D6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89532" y="6385013"/>
            <a:ext cx="1072323" cy="40212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7A59827-8E54-F249-8AED-17CF174F2E73}"/>
              </a:ext>
            </a:extLst>
          </p:cNvPr>
          <p:cNvSpPr txBox="1"/>
          <p:nvPr/>
        </p:nvSpPr>
        <p:spPr>
          <a:xfrm>
            <a:off x="9225759" y="6385013"/>
            <a:ext cx="12546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#</a:t>
            </a:r>
            <a:r>
              <a:rPr lang="en-US" sz="2000" dirty="0" err="1">
                <a:solidFill>
                  <a:schemeClr val="bg1"/>
                </a:solidFill>
              </a:rPr>
              <a:t>myCUGC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9336A2B-67DE-A442-B2EF-DB2B223C8A54}"/>
              </a:ext>
            </a:extLst>
          </p:cNvPr>
          <p:cNvSpPr txBox="1"/>
          <p:nvPr/>
        </p:nvSpPr>
        <p:spPr>
          <a:xfrm>
            <a:off x="502027" y="1114549"/>
            <a:ext cx="179401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Presenter: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1F31BF7-3944-A145-949E-B477C3E832FF}"/>
              </a:ext>
            </a:extLst>
          </p:cNvPr>
          <p:cNvSpPr txBox="1"/>
          <p:nvPr/>
        </p:nvSpPr>
        <p:spPr>
          <a:xfrm>
            <a:off x="7234508" y="1114549"/>
            <a:ext cx="199125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Moderator: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FA61BC4-02AD-EA44-90E7-BEB68AA4E03F}"/>
              </a:ext>
            </a:extLst>
          </p:cNvPr>
          <p:cNvCxnSpPr/>
          <p:nvPr/>
        </p:nvCxnSpPr>
        <p:spPr>
          <a:xfrm>
            <a:off x="6738296" y="830812"/>
            <a:ext cx="0" cy="5196376"/>
          </a:xfrm>
          <a:prstGeom prst="line">
            <a:avLst/>
          </a:prstGeom>
          <a:ln w="44450" cap="rnd">
            <a:solidFill>
              <a:srgbClr val="31629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A255E59B-4281-0245-88C8-D8B18A5A1765}"/>
              </a:ext>
            </a:extLst>
          </p:cNvPr>
          <p:cNvSpPr/>
          <p:nvPr/>
        </p:nvSpPr>
        <p:spPr>
          <a:xfrm>
            <a:off x="7643455" y="4368306"/>
            <a:ext cx="359199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000" b="0" i="0" dirty="0">
                <a:solidFill>
                  <a:schemeClr val="bg1"/>
                </a:solidFill>
                <a:effectLst/>
                <a:latin typeface="Avenir Book" panose="02000503020000020003"/>
              </a:rPr>
              <a:t>Jake Walsh</a:t>
            </a:r>
            <a:endParaRPr lang="en-US" sz="2000" dirty="0">
              <a:solidFill>
                <a:schemeClr val="bg1"/>
              </a:solidFill>
              <a:latin typeface="Avenir Book" panose="02000503020000020003"/>
            </a:endParaRPr>
          </a:p>
          <a:p>
            <a:pPr algn="r"/>
            <a:r>
              <a:rPr lang="en-US" sz="2000" b="0" i="0" dirty="0">
                <a:solidFill>
                  <a:schemeClr val="bg1"/>
                </a:solidFill>
                <a:effectLst/>
                <a:latin typeface="Avenir Book" panose="02000503020000020003"/>
              </a:rPr>
              <a:t>Principal Consultant </a:t>
            </a:r>
          </a:p>
          <a:p>
            <a:pPr algn="r"/>
            <a:r>
              <a:rPr lang="en-US" sz="2000" b="0" i="0" dirty="0">
                <a:solidFill>
                  <a:schemeClr val="bg1"/>
                </a:solidFill>
                <a:effectLst/>
                <a:latin typeface="Avenir Book" panose="02000503020000020003"/>
              </a:rPr>
              <a:t>CDW UK</a:t>
            </a:r>
          </a:p>
          <a:p>
            <a:pPr algn="r"/>
            <a:r>
              <a:rPr lang="en-US" sz="2000" b="0" i="0" dirty="0">
                <a:solidFill>
                  <a:schemeClr val="bg1"/>
                </a:solidFill>
                <a:effectLst/>
                <a:latin typeface="Avenir Book" panose="02000503020000020003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jakewalsh90</a:t>
            </a:r>
            <a:endParaRPr lang="en-US" sz="2000" dirty="0">
              <a:solidFill>
                <a:schemeClr val="bg1"/>
              </a:solidFill>
              <a:latin typeface="Avenir Book" panose="02000503020000020003"/>
            </a:endParaRPr>
          </a:p>
          <a:p>
            <a:pPr algn="r"/>
            <a:r>
              <a:rPr lang="en-US" sz="2000" dirty="0">
                <a:solidFill>
                  <a:schemeClr val="bg1"/>
                </a:solidFill>
                <a:latin typeface="Avenir Book" panose="02000503020000020003"/>
              </a:rPr>
              <a:t>jakewalsh.co.uk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DE8EB94-01DB-4DB7-A646-1CFDD25C0E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1977" y="1844485"/>
            <a:ext cx="2148455" cy="2340931"/>
          </a:xfrm>
          <a:prstGeom prst="rect">
            <a:avLst/>
          </a:prstGeom>
        </p:spPr>
      </p:pic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4EF5DE28-26CC-45AD-AFC7-7CC6DD8495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9092" y="1973488"/>
            <a:ext cx="2340931" cy="2340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7823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115C6381-1430-4A01-A340-37E8A52AB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7495" y="1639742"/>
            <a:ext cx="8795266" cy="1333699"/>
          </a:xfrm>
        </p:spPr>
        <p:txBody>
          <a:bodyPr/>
          <a:lstStyle/>
          <a:p>
            <a:r>
              <a:rPr lang="nb-NO" sz="3733" b="1" dirty="0"/>
              <a:t>So what happened last year in EUC?</a:t>
            </a:r>
            <a:br>
              <a:rPr lang="nb-NO" sz="3733" b="1" dirty="0"/>
            </a:br>
            <a:r>
              <a:rPr lang="nb-NO" sz="3733" b="1" dirty="0"/>
              <a:t>(</a:t>
            </a:r>
            <a:r>
              <a:rPr lang="nb-NO" sz="3733" b="1" i="1" dirty="0"/>
              <a:t>and so far in 2021….)</a:t>
            </a:r>
            <a:br>
              <a:rPr lang="nb-NO" sz="3733" b="1" i="1" dirty="0"/>
            </a:br>
            <a:br>
              <a:rPr lang="nb-NO" sz="3733" b="1" i="1" dirty="0"/>
            </a:br>
            <a:r>
              <a:rPr lang="nb-NO" sz="2400" b="1" dirty="0"/>
              <a:t>- Product rebranding</a:t>
            </a:r>
            <a:br>
              <a:rPr lang="nb-NO" sz="2400" b="1" dirty="0"/>
            </a:br>
            <a:r>
              <a:rPr lang="nb-NO" sz="2400" b="1" dirty="0"/>
              <a:t>- Logo Changes</a:t>
            </a:r>
            <a:br>
              <a:rPr lang="nb-NO" sz="2400" b="1" dirty="0"/>
            </a:br>
            <a:r>
              <a:rPr lang="nb-NO" sz="2400" b="1" dirty="0"/>
              <a:t>- Company acquisition (*ehem Wrike*) </a:t>
            </a:r>
            <a:br>
              <a:rPr lang="nb-NO" sz="3200" b="1" i="1" dirty="0"/>
            </a:br>
            <a:br>
              <a:rPr lang="nb-NO" sz="3733" b="1" i="1" dirty="0"/>
            </a:br>
            <a:r>
              <a:rPr lang="nb-NO" sz="1800" b="1" i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isclaimer: </a:t>
            </a:r>
            <a:r>
              <a:rPr lang="nb-NO" sz="1800" i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ight not have gotten all the new cool announcements from Ignite in here yet...</a:t>
            </a:r>
            <a:endParaRPr lang="nb-NO" sz="3733" i="1" dirty="0">
              <a:solidFill>
                <a:schemeClr val="tx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67585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7CDC0824-BCEE-42A3-BF75-3C4BC350F038}"/>
              </a:ext>
            </a:extLst>
          </p:cNvPr>
          <p:cNvSpPr txBox="1">
            <a:spLocks/>
          </p:cNvSpPr>
          <p:nvPr/>
        </p:nvSpPr>
        <p:spPr>
          <a:xfrm>
            <a:off x="763103" y="520804"/>
            <a:ext cx="7735700" cy="1333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nb-NO" sz="3733" b="1" dirty="0"/>
              <a:t>Agen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051F42-2B0A-4418-BF4D-4F63CCC41B5E}"/>
              </a:ext>
            </a:extLst>
          </p:cNvPr>
          <p:cNvSpPr txBox="1"/>
          <p:nvPr/>
        </p:nvSpPr>
        <p:spPr>
          <a:xfrm>
            <a:off x="763103" y="1086754"/>
            <a:ext cx="9304821" cy="10079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Ransomware and how this can be a problem from a VDI perspective?</a:t>
            </a:r>
          </a:p>
          <a:p>
            <a:pPr marL="380990" indent="-38099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hy all the fuzz with vendors and Zero-Trust?</a:t>
            </a:r>
          </a:p>
          <a:p>
            <a:pPr marL="380990" indent="-38099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ASE? Yet another acronym but something that is linked to Zero-Trust</a:t>
            </a:r>
          </a:p>
          <a:p>
            <a:pPr marL="380990" indent="-38099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odern workplace and passwordless authentication and how this now works</a:t>
            </a:r>
          </a:p>
          <a:p>
            <a:pPr marL="380990" indent="-38099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itrix Analytics vs Workspace ONE Intelligence</a:t>
            </a:r>
          </a:p>
          <a:p>
            <a:pPr marL="380990" indent="-38099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Latest EUC updates from Microsoft, Amazon and Google from a birds view</a:t>
            </a:r>
          </a:p>
          <a:p>
            <a:pPr marL="380990" indent="-38099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Latest VDI Updates from Citrix, Microsoft and VMware</a:t>
            </a:r>
          </a:p>
          <a:p>
            <a:pPr marL="380990" indent="-38099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Updates to Citrix Cloud &amp; Windows Virtual Desktop</a:t>
            </a:r>
          </a:p>
          <a:p>
            <a:pPr marL="380990" indent="-38099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The ecosystem around WVD</a:t>
            </a:r>
          </a:p>
          <a:p>
            <a:pPr marL="380990" indent="-38099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Latest recap from Ignite</a:t>
            </a:r>
          </a:p>
          <a:p>
            <a:pPr marL="380990" indent="-38099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nb-NO" sz="16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hat does the future hold for EUC? </a:t>
            </a:r>
          </a:p>
          <a:p>
            <a:pPr marL="380990" indent="-38099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nb-NO" b="1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80990" indent="-38099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nb-NO" sz="2000" b="1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nb-NO" sz="2000" b="1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nb-NO" sz="2000" b="1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nb-NO" sz="2000" i="1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nb-NO" sz="20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nb-NO" sz="20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nb-NO" sz="20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nb-NO" sz="2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nb-NO" sz="2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nb-NO" sz="2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nb-NO" sz="2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nb-NO" sz="24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5028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115C6381-1430-4A01-A340-37E8A52AB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7081" y="197384"/>
            <a:ext cx="8795266" cy="1333699"/>
          </a:xfrm>
        </p:spPr>
        <p:txBody>
          <a:bodyPr/>
          <a:lstStyle/>
          <a:p>
            <a:r>
              <a:rPr lang="nb-NO" sz="3733" b="1" dirty="0"/>
              <a:t>Also... while I remember i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0B59768-548D-4989-92E4-8C4A5F5860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4370" y="1079511"/>
            <a:ext cx="9067800" cy="33242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CBD5761-F44B-4DD4-A415-B4AFC5F77B8F}"/>
              </a:ext>
            </a:extLst>
          </p:cNvPr>
          <p:cNvSpPr txBox="1"/>
          <p:nvPr/>
        </p:nvSpPr>
        <p:spPr>
          <a:xfrm>
            <a:off x="497081" y="4520002"/>
            <a:ext cx="609494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6"/>
              </a:rPr>
              <a:t>Enable SSO for Basic, Digest, and NTLM authentication (citrix.com)</a:t>
            </a:r>
            <a:endParaRPr lang="en-US" dirty="0"/>
          </a:p>
        </p:txBody>
      </p:sp>
      <p:pic>
        <p:nvPicPr>
          <p:cNvPr id="1026" name="Picture 2" descr="Error: &quot;Cannot Complete Your Request&quot; When Connecting to StoreFront">
            <a:extLst>
              <a:ext uri="{FF2B5EF4-FFF2-40B4-BE49-F238E27FC236}">
                <a16:creationId xmlns:a16="http://schemas.microsoft.com/office/drawing/2014/main" id="{C4377D09-FB72-4724-9D99-9F7EA2B41C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2029" y="3319495"/>
            <a:ext cx="3524250" cy="1581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30295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115C6381-1430-4A01-A340-37E8A52AB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7081" y="197384"/>
            <a:ext cx="8795266" cy="1333699"/>
          </a:xfrm>
        </p:spPr>
        <p:txBody>
          <a:bodyPr/>
          <a:lstStyle/>
          <a:p>
            <a:r>
              <a:rPr lang="nb-NO" sz="3733" b="1" dirty="0"/>
              <a:t>Also... while I remember it #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459D16-2C4B-4BB5-AF9D-913AC199E6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9126" y="1487679"/>
            <a:ext cx="5394829" cy="388264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2AB7803-5185-42B4-AD89-853A955FA1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1154034"/>
            <a:ext cx="3974725" cy="5259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8074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D95301-6878-46DC-BA84-C226AE060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91" y="504488"/>
            <a:ext cx="8190579" cy="1333699"/>
          </a:xfrm>
        </p:spPr>
        <p:txBody>
          <a:bodyPr/>
          <a:lstStyle/>
          <a:p>
            <a:r>
              <a:rPr lang="nb-NO" b="1" dirty="0"/>
              <a:t>Clearly that more organizations will move to DaaS based delivery</a:t>
            </a:r>
            <a:endParaRPr lang="en-US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52B14A4-08B8-4108-88D0-7AB5CFC1AA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4093" y="1671146"/>
            <a:ext cx="7588205" cy="4556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5330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itrix_6_2016">
  <a:themeElements>
    <a:clrScheme name="Citrix Corp Palette 2016 update">
      <a:dk1>
        <a:sysClr val="windowText" lastClr="000000"/>
      </a:dk1>
      <a:lt1>
        <a:sysClr val="window" lastClr="FFFFFF"/>
      </a:lt1>
      <a:dk2>
        <a:srgbClr val="DBD9D1"/>
      </a:dk2>
      <a:lt2>
        <a:srgbClr val="B8B3AD"/>
      </a:lt2>
      <a:accent1>
        <a:srgbClr val="23AAE2"/>
      </a:accent1>
      <a:accent2>
        <a:srgbClr val="B7DB00"/>
      </a:accent2>
      <a:accent3>
        <a:srgbClr val="FF9E1B"/>
      </a:accent3>
      <a:accent4>
        <a:srgbClr val="F9423A"/>
      </a:accent4>
      <a:accent5>
        <a:srgbClr val="E90595"/>
      </a:accent5>
      <a:accent6>
        <a:srgbClr val="737373"/>
      </a:accent6>
      <a:hlink>
        <a:srgbClr val="00A3E0"/>
      </a:hlink>
      <a:folHlink>
        <a:srgbClr val="DBD9D1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itrix_6_2016" id="{9D2BA199-4500-E948-8B42-66C3A5A93C98}" vid="{E429B589-4920-6C4D-AA2A-C4C9C2110B4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1E926A4E1583C40AFE07FDA9847D22A" ma:contentTypeVersion="8" ma:contentTypeDescription="Create a new document." ma:contentTypeScope="" ma:versionID="754007a68d7a8b19a523c5f782cb6e6c">
  <xsd:schema xmlns:xsd="http://www.w3.org/2001/XMLSchema" xmlns:xs="http://www.w3.org/2001/XMLSchema" xmlns:p="http://schemas.microsoft.com/office/2006/metadata/properties" xmlns:ns3="475f8e1d-e806-4425-be60-16714a16f59b" xmlns:ns4="60938c7a-0410-4f54-811a-dc377159df67" targetNamespace="http://schemas.microsoft.com/office/2006/metadata/properties" ma:root="true" ma:fieldsID="dfbcbe5e3c0326a739b9a8470148460f" ns3:_="" ns4:_="">
    <xsd:import namespace="475f8e1d-e806-4425-be60-16714a16f59b"/>
    <xsd:import namespace="60938c7a-0410-4f54-811a-dc377159df6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5f8e1d-e806-4425-be60-16714a16f59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938c7a-0410-4f54-811a-dc377159df67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41B3E80-1C5A-43E7-A1BE-069EEB60F37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2574C6A-D34F-411C-B9B9-34E52A0B47F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75f8e1d-e806-4425-be60-16714a16f59b"/>
    <ds:schemaRef ds:uri="60938c7a-0410-4f54-811a-dc377159df6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83A963E-42BD-424C-960F-56E01B8878AD}">
  <ds:schemaRefs>
    <ds:schemaRef ds:uri="http://purl.org/dc/dcmitype/"/>
    <ds:schemaRef ds:uri="http://schemas.microsoft.com/office/2006/documentManagement/types"/>
    <ds:schemaRef ds:uri="60938c7a-0410-4f54-811a-dc377159df67"/>
    <ds:schemaRef ds:uri="http://purl.org/dc/terms/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purl.org/dc/elements/1.1/"/>
    <ds:schemaRef ds:uri="475f8e1d-e806-4425-be60-16714a16f59b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itrix_6_2016</Template>
  <TotalTime>21630</TotalTime>
  <Words>2065</Words>
  <Application>Microsoft Office PowerPoint</Application>
  <PresentationFormat>Widescreen</PresentationFormat>
  <Paragraphs>465</Paragraphs>
  <Slides>3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6" baseType="lpstr">
      <vt:lpstr>-apple-system</vt:lpstr>
      <vt:lpstr>Arial</vt:lpstr>
      <vt:lpstr>Avenir Book</vt:lpstr>
      <vt:lpstr>Avenir Light</vt:lpstr>
      <vt:lpstr>Calibri</vt:lpstr>
      <vt:lpstr>Calibri Light</vt:lpstr>
      <vt:lpstr>Segoe UI Semibold</vt:lpstr>
      <vt:lpstr>Segoe UI Semilight</vt:lpstr>
      <vt:lpstr>Tahoma</vt:lpstr>
      <vt:lpstr>Citrix_6_2016</vt:lpstr>
      <vt:lpstr>think-cell Slide</vt:lpstr>
      <vt:lpstr>PowerPoint Presentation</vt:lpstr>
      <vt:lpstr>PowerPoint Presentation</vt:lpstr>
      <vt:lpstr>PowerPoint Presentation</vt:lpstr>
      <vt:lpstr>PowerPoint Presentation</vt:lpstr>
      <vt:lpstr>So what happened last year in EUC? (and so far in 2021….)  - Product rebranding - Logo Changes - Company acquisition (*ehem Wrike*)   Disclaimer: Might not have gotten all the new cool announcements from Ignite in here yet...</vt:lpstr>
      <vt:lpstr>PowerPoint Presentation</vt:lpstr>
      <vt:lpstr>Also... while I remember it</vt:lpstr>
      <vt:lpstr>Also... while I remember it #2</vt:lpstr>
      <vt:lpstr>Clearly that more organizations will move to DaaS based delivery</vt:lpstr>
      <vt:lpstr>Still needs a lot of patching...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account</dc:creator>
  <cp:lastModifiedBy>Marius Sandbu</cp:lastModifiedBy>
  <cp:revision>479</cp:revision>
  <cp:lastPrinted>2017-01-17T18:32:13Z</cp:lastPrinted>
  <dcterms:created xsi:type="dcterms:W3CDTF">2016-06-24T17:05:30Z</dcterms:created>
  <dcterms:modified xsi:type="dcterms:W3CDTF">2021-03-10T22:4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1E926A4E1583C40AFE07FDA9847D22A</vt:lpwstr>
  </property>
</Properties>
</file>